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tiff" ContentType="image/tif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4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5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6.xml" ContentType="application/vnd.openxmlformats-officedocument.theme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drawings/drawing2.xml" ContentType="application/vnd.openxmlformats-officedocument.drawingml.chartshape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colors1.xml" ContentType="application/vnd.ms-office.chartcolorstyle+xml"/>
  <Override PartName="/ppt/charts/style1.xml" ContentType="application/vnd.ms-office.chartstyle+xml"/>
  <Override PartName="/ppt/charts/style2.xml" ContentType="application/vnd.ms-office.chartstyle+xml"/>
  <Override PartName="/ppt/charts/colors2.xml" ContentType="application/vnd.ms-office.chartcolorstyle+xml"/>
  <Override PartName="/ppt/charts/colors3.xml" ContentType="application/vnd.ms-office.chartcolorstyle+xml"/>
  <Override PartName="/ppt/charts/style3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3" r:id="rId2"/>
    <p:sldMasterId id="2147483679" r:id="rId3"/>
    <p:sldMasterId id="2147483695" r:id="rId4"/>
    <p:sldMasterId id="2147483711" r:id="rId5"/>
    <p:sldMasterId id="2147483727" r:id="rId6"/>
    <p:sldMasterId id="2147483745" r:id="rId7"/>
  </p:sldMasterIdLst>
  <p:notesMasterIdLst>
    <p:notesMasterId r:id="rId31"/>
  </p:notesMasterIdLst>
  <p:sldIdLst>
    <p:sldId id="446" r:id="rId8"/>
    <p:sldId id="448" r:id="rId9"/>
    <p:sldId id="290" r:id="rId10"/>
    <p:sldId id="510" r:id="rId11"/>
    <p:sldId id="511" r:id="rId12"/>
    <p:sldId id="512" r:id="rId13"/>
    <p:sldId id="498" r:id="rId14"/>
    <p:sldId id="288" r:id="rId15"/>
    <p:sldId id="338" r:id="rId16"/>
    <p:sldId id="447" r:id="rId17"/>
    <p:sldId id="450" r:id="rId18"/>
    <p:sldId id="455" r:id="rId19"/>
    <p:sldId id="503" r:id="rId20"/>
    <p:sldId id="500" r:id="rId21"/>
    <p:sldId id="484" r:id="rId22"/>
    <p:sldId id="491" r:id="rId23"/>
    <p:sldId id="459" r:id="rId24"/>
    <p:sldId id="486" r:id="rId25"/>
    <p:sldId id="481" r:id="rId26"/>
    <p:sldId id="505" r:id="rId27"/>
    <p:sldId id="494" r:id="rId28"/>
    <p:sldId id="508" r:id="rId29"/>
    <p:sldId id="509" r:id="rId30"/>
  </p:sldIdLst>
  <p:sldSz cx="9144000" cy="6858000" type="screen4x3"/>
  <p:notesSz cx="6858000" cy="9144000"/>
  <p:defaultTextStyle>
    <a:defPPr>
      <a:defRPr lang="en-US"/>
    </a:defPPr>
    <a:lvl1pPr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굴림" charset="-127"/>
        <a:cs typeface="+mn-cs"/>
      </a:defRPr>
    </a:lvl1pPr>
    <a:lvl2pPr marL="457200"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굴림" charset="-127"/>
        <a:cs typeface="+mn-cs"/>
      </a:defRPr>
    </a:lvl2pPr>
    <a:lvl3pPr marL="914400"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굴림" charset="-127"/>
        <a:cs typeface="+mn-cs"/>
      </a:defRPr>
    </a:lvl3pPr>
    <a:lvl4pPr marL="1371600"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굴림" charset="-127"/>
        <a:cs typeface="+mn-cs"/>
      </a:defRPr>
    </a:lvl4pPr>
    <a:lvl5pPr marL="1828800"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굴림" charset="-127"/>
        <a:cs typeface="+mn-cs"/>
      </a:defRPr>
    </a:lvl5pPr>
    <a:lvl6pPr marL="2286000" algn="l" defTabSz="914400" rtl="0" eaLnBrk="1" latinLnBrk="1" hangingPunct="1">
      <a:defRPr kumimoji="1" kern="1200">
        <a:solidFill>
          <a:schemeClr val="tx1"/>
        </a:solidFill>
        <a:latin typeface="Arial" charset="0"/>
        <a:ea typeface="굴림" charset="-127"/>
        <a:cs typeface="+mn-cs"/>
      </a:defRPr>
    </a:lvl6pPr>
    <a:lvl7pPr marL="2743200" algn="l" defTabSz="914400" rtl="0" eaLnBrk="1" latinLnBrk="1" hangingPunct="1">
      <a:defRPr kumimoji="1" kern="1200">
        <a:solidFill>
          <a:schemeClr val="tx1"/>
        </a:solidFill>
        <a:latin typeface="Arial" charset="0"/>
        <a:ea typeface="굴림" charset="-127"/>
        <a:cs typeface="+mn-cs"/>
      </a:defRPr>
    </a:lvl7pPr>
    <a:lvl8pPr marL="3200400" algn="l" defTabSz="914400" rtl="0" eaLnBrk="1" latinLnBrk="1" hangingPunct="1">
      <a:defRPr kumimoji="1" kern="1200">
        <a:solidFill>
          <a:schemeClr val="tx1"/>
        </a:solidFill>
        <a:latin typeface="Arial" charset="0"/>
        <a:ea typeface="굴림" charset="-127"/>
        <a:cs typeface="+mn-cs"/>
      </a:defRPr>
    </a:lvl8pPr>
    <a:lvl9pPr marL="3657600" algn="l" defTabSz="914400" rtl="0" eaLnBrk="1" latinLnBrk="1" hangingPunct="1">
      <a:defRPr kumimoji="1" kern="1200">
        <a:solidFill>
          <a:schemeClr val="tx1"/>
        </a:solidFill>
        <a:latin typeface="Arial" charset="0"/>
        <a:ea typeface="굴림" charset="-127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531" autoAdjust="0"/>
    <p:restoredTop sz="94729" autoAdjust="0"/>
  </p:normalViewPr>
  <p:slideViewPr>
    <p:cSldViewPr>
      <p:cViewPr>
        <p:scale>
          <a:sx n="76" d="100"/>
          <a:sy n="76" d="100"/>
        </p:scale>
        <p:origin x="-1314" y="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1068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4.xml"/><Relationship Id="rId34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1.xlsx"/><Relationship Id="rId4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ColorStyle" Target="colors3.xml"/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Microsoft_Excel_Worksheet3.xlsx"/><Relationship Id="rId4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ko-KR"/>
        </a:p>
      </c:txPr>
    </c:title>
    <c:autoTitleDeleted val="0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cat>
            <c:strRef>
              <c:f>Sheet1!$B$1:$I$1</c:f>
              <c:strCache>
                <c:ptCount val="8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</c:strCache>
            </c:strRef>
          </c:cat>
          <c:val>
            <c:numRef>
              <c:f>Sheet1!$B$2:$I$2</c:f>
              <c:numCache>
                <c:formatCode>#,##0</c:formatCode>
                <c:ptCount val="8"/>
                <c:pt idx="0">
                  <c:v>11740</c:v>
                </c:pt>
                <c:pt idx="1">
                  <c:v>12437</c:v>
                </c:pt>
                <c:pt idx="2">
                  <c:v>13072</c:v>
                </c:pt>
                <c:pt idx="3">
                  <c:v>13098</c:v>
                </c:pt>
                <c:pt idx="4">
                  <c:v>13374</c:v>
                </c:pt>
                <c:pt idx="5">
                  <c:v>13546</c:v>
                </c:pt>
                <c:pt idx="6">
                  <c:v>13867</c:v>
                </c:pt>
                <c:pt idx="7">
                  <c:v>1411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770F-450F-B37F-C48195E506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127517056"/>
        <c:axId val="127518592"/>
        <c:axId val="0"/>
      </c:bar3DChart>
      <c:catAx>
        <c:axId val="1275170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127518592"/>
        <c:crosses val="autoZero"/>
        <c:auto val="1"/>
        <c:lblAlgn val="ctr"/>
        <c:lblOffset val="100"/>
        <c:noMultiLvlLbl val="0"/>
      </c:catAx>
      <c:valAx>
        <c:axId val="127518592"/>
        <c:scaling>
          <c:orientation val="minMax"/>
          <c:min val="1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1275170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0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1!$A$2:$A$22</c:f>
              <c:strCache>
                <c:ptCount val="21"/>
                <c:pt idx="0">
                  <c:v>0-4세</c:v>
                </c:pt>
                <c:pt idx="1">
                  <c:v>5-9세</c:v>
                </c:pt>
                <c:pt idx="2">
                  <c:v>10-14세</c:v>
                </c:pt>
                <c:pt idx="3">
                  <c:v>15-19세</c:v>
                </c:pt>
                <c:pt idx="4">
                  <c:v>20-24세</c:v>
                </c:pt>
                <c:pt idx="5">
                  <c:v>25-29세</c:v>
                </c:pt>
                <c:pt idx="6">
                  <c:v>30-34세</c:v>
                </c:pt>
                <c:pt idx="7">
                  <c:v>35-39세</c:v>
                </c:pt>
                <c:pt idx="8">
                  <c:v>40-44세</c:v>
                </c:pt>
                <c:pt idx="9">
                  <c:v>45-49세</c:v>
                </c:pt>
                <c:pt idx="10">
                  <c:v>50-54세</c:v>
                </c:pt>
                <c:pt idx="11">
                  <c:v>55-59세</c:v>
                </c:pt>
                <c:pt idx="12">
                  <c:v>60-64세</c:v>
                </c:pt>
                <c:pt idx="13">
                  <c:v>65-69세</c:v>
                </c:pt>
                <c:pt idx="14">
                  <c:v>70-74세</c:v>
                </c:pt>
                <c:pt idx="15">
                  <c:v>75-79세</c:v>
                </c:pt>
                <c:pt idx="16">
                  <c:v>80-84세</c:v>
                </c:pt>
                <c:pt idx="17">
                  <c:v>85-89세</c:v>
                </c:pt>
                <c:pt idx="18">
                  <c:v>90-94세</c:v>
                </c:pt>
                <c:pt idx="19">
                  <c:v>95-99세</c:v>
                </c:pt>
                <c:pt idx="20">
                  <c:v>100세 이상</c:v>
                </c:pt>
              </c:strCache>
            </c:strRef>
          </c:cat>
          <c:val>
            <c:numRef>
              <c:f>Sheet1!$B$2:$B$22</c:f>
              <c:numCache>
                <c:formatCode>#,##0</c:formatCode>
                <c:ptCount val="21"/>
                <c:pt idx="0">
                  <c:v>14</c:v>
                </c:pt>
                <c:pt idx="1">
                  <c:v>32</c:v>
                </c:pt>
                <c:pt idx="2">
                  <c:v>21</c:v>
                </c:pt>
                <c:pt idx="3">
                  <c:v>28</c:v>
                </c:pt>
                <c:pt idx="4">
                  <c:v>37</c:v>
                </c:pt>
                <c:pt idx="5">
                  <c:v>62</c:v>
                </c:pt>
                <c:pt idx="6">
                  <c:v>88</c:v>
                </c:pt>
                <c:pt idx="7">
                  <c:v>167</c:v>
                </c:pt>
                <c:pt idx="8">
                  <c:v>298</c:v>
                </c:pt>
                <c:pt idx="9">
                  <c:v>608</c:v>
                </c:pt>
                <c:pt idx="10">
                  <c:v>1016</c:v>
                </c:pt>
                <c:pt idx="11">
                  <c:v>1295</c:v>
                </c:pt>
                <c:pt idx="12">
                  <c:v>1809</c:v>
                </c:pt>
                <c:pt idx="13">
                  <c:v>2164</c:v>
                </c:pt>
                <c:pt idx="14">
                  <c:v>2366</c:v>
                </c:pt>
                <c:pt idx="15">
                  <c:v>1789</c:v>
                </c:pt>
                <c:pt idx="16">
                  <c:v>876</c:v>
                </c:pt>
                <c:pt idx="17">
                  <c:v>325</c:v>
                </c:pt>
                <c:pt idx="18">
                  <c:v>64</c:v>
                </c:pt>
                <c:pt idx="19">
                  <c:v>12</c:v>
                </c:pt>
                <c:pt idx="20">
                  <c:v>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FD93-4F7E-993D-E0FBCBD845B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11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heet1!$A$2:$A$22</c:f>
              <c:strCache>
                <c:ptCount val="21"/>
                <c:pt idx="0">
                  <c:v>0-4세</c:v>
                </c:pt>
                <c:pt idx="1">
                  <c:v>5-9세</c:v>
                </c:pt>
                <c:pt idx="2">
                  <c:v>10-14세</c:v>
                </c:pt>
                <c:pt idx="3">
                  <c:v>15-19세</c:v>
                </c:pt>
                <c:pt idx="4">
                  <c:v>20-24세</c:v>
                </c:pt>
                <c:pt idx="5">
                  <c:v>25-29세</c:v>
                </c:pt>
                <c:pt idx="6">
                  <c:v>30-34세</c:v>
                </c:pt>
                <c:pt idx="7">
                  <c:v>35-39세</c:v>
                </c:pt>
                <c:pt idx="8">
                  <c:v>40-44세</c:v>
                </c:pt>
                <c:pt idx="9">
                  <c:v>45-49세</c:v>
                </c:pt>
                <c:pt idx="10">
                  <c:v>50-54세</c:v>
                </c:pt>
                <c:pt idx="11">
                  <c:v>55-59세</c:v>
                </c:pt>
                <c:pt idx="12">
                  <c:v>60-64세</c:v>
                </c:pt>
                <c:pt idx="13">
                  <c:v>65-69세</c:v>
                </c:pt>
                <c:pt idx="14">
                  <c:v>70-74세</c:v>
                </c:pt>
                <c:pt idx="15">
                  <c:v>75-79세</c:v>
                </c:pt>
                <c:pt idx="16">
                  <c:v>80-84세</c:v>
                </c:pt>
                <c:pt idx="17">
                  <c:v>85-89세</c:v>
                </c:pt>
                <c:pt idx="18">
                  <c:v>90-94세</c:v>
                </c:pt>
                <c:pt idx="19">
                  <c:v>95-99세</c:v>
                </c:pt>
                <c:pt idx="20">
                  <c:v>100세 이상</c:v>
                </c:pt>
              </c:strCache>
            </c:strRef>
          </c:cat>
          <c:val>
            <c:numRef>
              <c:f>Sheet1!$C$2:$C$22</c:f>
              <c:numCache>
                <c:formatCode>#,##0</c:formatCode>
                <c:ptCount val="21"/>
                <c:pt idx="0">
                  <c:v>12</c:v>
                </c:pt>
                <c:pt idx="1">
                  <c:v>27</c:v>
                </c:pt>
                <c:pt idx="2">
                  <c:v>18</c:v>
                </c:pt>
                <c:pt idx="3">
                  <c:v>26</c:v>
                </c:pt>
                <c:pt idx="4">
                  <c:v>34</c:v>
                </c:pt>
                <c:pt idx="5">
                  <c:v>55</c:v>
                </c:pt>
                <c:pt idx="6">
                  <c:v>96</c:v>
                </c:pt>
                <c:pt idx="7">
                  <c:v>138</c:v>
                </c:pt>
                <c:pt idx="8">
                  <c:v>307</c:v>
                </c:pt>
                <c:pt idx="9">
                  <c:v>537</c:v>
                </c:pt>
                <c:pt idx="10">
                  <c:v>1014</c:v>
                </c:pt>
                <c:pt idx="11">
                  <c:v>1258</c:v>
                </c:pt>
                <c:pt idx="12">
                  <c:v>1736</c:v>
                </c:pt>
                <c:pt idx="13">
                  <c:v>2045</c:v>
                </c:pt>
                <c:pt idx="14">
                  <c:v>2397</c:v>
                </c:pt>
                <c:pt idx="15">
                  <c:v>1931</c:v>
                </c:pt>
                <c:pt idx="16">
                  <c:v>1015</c:v>
                </c:pt>
                <c:pt idx="17">
                  <c:v>360</c:v>
                </c:pt>
                <c:pt idx="18">
                  <c:v>79</c:v>
                </c:pt>
                <c:pt idx="19">
                  <c:v>13</c:v>
                </c:pt>
                <c:pt idx="20">
                  <c:v>0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FD93-4F7E-993D-E0FBCBD845B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12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heet1!$A$2:$A$22</c:f>
              <c:strCache>
                <c:ptCount val="21"/>
                <c:pt idx="0">
                  <c:v>0-4세</c:v>
                </c:pt>
                <c:pt idx="1">
                  <c:v>5-9세</c:v>
                </c:pt>
                <c:pt idx="2">
                  <c:v>10-14세</c:v>
                </c:pt>
                <c:pt idx="3">
                  <c:v>15-19세</c:v>
                </c:pt>
                <c:pt idx="4">
                  <c:v>20-24세</c:v>
                </c:pt>
                <c:pt idx="5">
                  <c:v>25-29세</c:v>
                </c:pt>
                <c:pt idx="6">
                  <c:v>30-34세</c:v>
                </c:pt>
                <c:pt idx="7">
                  <c:v>35-39세</c:v>
                </c:pt>
                <c:pt idx="8">
                  <c:v>40-44세</c:v>
                </c:pt>
                <c:pt idx="9">
                  <c:v>45-49세</c:v>
                </c:pt>
                <c:pt idx="10">
                  <c:v>50-54세</c:v>
                </c:pt>
                <c:pt idx="11">
                  <c:v>55-59세</c:v>
                </c:pt>
                <c:pt idx="12">
                  <c:v>60-64세</c:v>
                </c:pt>
                <c:pt idx="13">
                  <c:v>65-69세</c:v>
                </c:pt>
                <c:pt idx="14">
                  <c:v>70-74세</c:v>
                </c:pt>
                <c:pt idx="15">
                  <c:v>75-79세</c:v>
                </c:pt>
                <c:pt idx="16">
                  <c:v>80-84세</c:v>
                </c:pt>
                <c:pt idx="17">
                  <c:v>85-89세</c:v>
                </c:pt>
                <c:pt idx="18">
                  <c:v>90-94세</c:v>
                </c:pt>
                <c:pt idx="19">
                  <c:v>95-99세</c:v>
                </c:pt>
                <c:pt idx="20">
                  <c:v>100세 이상</c:v>
                </c:pt>
              </c:strCache>
            </c:strRef>
          </c:cat>
          <c:val>
            <c:numRef>
              <c:f>Sheet1!$D$2:$D$22</c:f>
              <c:numCache>
                <c:formatCode>#,##0</c:formatCode>
                <c:ptCount val="21"/>
                <c:pt idx="0">
                  <c:v>7</c:v>
                </c:pt>
                <c:pt idx="1">
                  <c:v>27</c:v>
                </c:pt>
                <c:pt idx="2">
                  <c:v>16</c:v>
                </c:pt>
                <c:pt idx="3">
                  <c:v>21</c:v>
                </c:pt>
                <c:pt idx="4">
                  <c:v>34</c:v>
                </c:pt>
                <c:pt idx="5">
                  <c:v>52</c:v>
                </c:pt>
                <c:pt idx="6">
                  <c:v>92</c:v>
                </c:pt>
                <c:pt idx="7">
                  <c:v>142</c:v>
                </c:pt>
                <c:pt idx="8">
                  <c:v>275</c:v>
                </c:pt>
                <c:pt idx="9">
                  <c:v>474</c:v>
                </c:pt>
                <c:pt idx="10">
                  <c:v>962</c:v>
                </c:pt>
                <c:pt idx="11">
                  <c:v>1285</c:v>
                </c:pt>
                <c:pt idx="12">
                  <c:v>1698</c:v>
                </c:pt>
                <c:pt idx="13">
                  <c:v>1948</c:v>
                </c:pt>
                <c:pt idx="14">
                  <c:v>2548</c:v>
                </c:pt>
                <c:pt idx="15">
                  <c:v>2104</c:v>
                </c:pt>
                <c:pt idx="16">
                  <c:v>1144</c:v>
                </c:pt>
                <c:pt idx="17">
                  <c:v>412</c:v>
                </c:pt>
                <c:pt idx="18">
                  <c:v>116</c:v>
                </c:pt>
                <c:pt idx="19">
                  <c:v>16</c:v>
                </c:pt>
                <c:pt idx="20">
                  <c:v>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FD93-4F7E-993D-E0FBCBD845B8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2013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Sheet1!$A$2:$A$22</c:f>
              <c:strCache>
                <c:ptCount val="21"/>
                <c:pt idx="0">
                  <c:v>0-4세</c:v>
                </c:pt>
                <c:pt idx="1">
                  <c:v>5-9세</c:v>
                </c:pt>
                <c:pt idx="2">
                  <c:v>10-14세</c:v>
                </c:pt>
                <c:pt idx="3">
                  <c:v>15-19세</c:v>
                </c:pt>
                <c:pt idx="4">
                  <c:v>20-24세</c:v>
                </c:pt>
                <c:pt idx="5">
                  <c:v>25-29세</c:v>
                </c:pt>
                <c:pt idx="6">
                  <c:v>30-34세</c:v>
                </c:pt>
                <c:pt idx="7">
                  <c:v>35-39세</c:v>
                </c:pt>
                <c:pt idx="8">
                  <c:v>40-44세</c:v>
                </c:pt>
                <c:pt idx="9">
                  <c:v>45-49세</c:v>
                </c:pt>
                <c:pt idx="10">
                  <c:v>50-54세</c:v>
                </c:pt>
                <c:pt idx="11">
                  <c:v>55-59세</c:v>
                </c:pt>
                <c:pt idx="12">
                  <c:v>60-64세</c:v>
                </c:pt>
                <c:pt idx="13">
                  <c:v>65-69세</c:v>
                </c:pt>
                <c:pt idx="14">
                  <c:v>70-74세</c:v>
                </c:pt>
                <c:pt idx="15">
                  <c:v>75-79세</c:v>
                </c:pt>
                <c:pt idx="16">
                  <c:v>80-84세</c:v>
                </c:pt>
                <c:pt idx="17">
                  <c:v>85-89세</c:v>
                </c:pt>
                <c:pt idx="18">
                  <c:v>90-94세</c:v>
                </c:pt>
                <c:pt idx="19">
                  <c:v>95-99세</c:v>
                </c:pt>
                <c:pt idx="20">
                  <c:v>100세 이상</c:v>
                </c:pt>
              </c:strCache>
            </c:strRef>
          </c:cat>
          <c:val>
            <c:numRef>
              <c:f>Sheet1!$E$2:$E$22</c:f>
              <c:numCache>
                <c:formatCode>#,##0</c:formatCode>
                <c:ptCount val="21"/>
                <c:pt idx="0">
                  <c:v>13</c:v>
                </c:pt>
                <c:pt idx="1">
                  <c:v>20</c:v>
                </c:pt>
                <c:pt idx="2">
                  <c:v>21</c:v>
                </c:pt>
                <c:pt idx="3">
                  <c:v>20</c:v>
                </c:pt>
                <c:pt idx="4">
                  <c:v>33</c:v>
                </c:pt>
                <c:pt idx="5">
                  <c:v>50</c:v>
                </c:pt>
                <c:pt idx="6">
                  <c:v>92</c:v>
                </c:pt>
                <c:pt idx="7">
                  <c:v>142</c:v>
                </c:pt>
                <c:pt idx="8">
                  <c:v>253</c:v>
                </c:pt>
                <c:pt idx="9">
                  <c:v>448</c:v>
                </c:pt>
                <c:pt idx="10">
                  <c:v>892</c:v>
                </c:pt>
                <c:pt idx="11">
                  <c:v>1320</c:v>
                </c:pt>
                <c:pt idx="12">
                  <c:v>1615</c:v>
                </c:pt>
                <c:pt idx="13">
                  <c:v>2018</c:v>
                </c:pt>
                <c:pt idx="14">
                  <c:v>2474</c:v>
                </c:pt>
                <c:pt idx="15">
                  <c:v>2230</c:v>
                </c:pt>
                <c:pt idx="16">
                  <c:v>1221</c:v>
                </c:pt>
                <c:pt idx="17">
                  <c:v>335</c:v>
                </c:pt>
                <c:pt idx="18">
                  <c:v>138</c:v>
                </c:pt>
                <c:pt idx="19">
                  <c:v>19</c:v>
                </c:pt>
                <c:pt idx="20">
                  <c:v>4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3-FD93-4F7E-993D-E0FBCBD845B8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2014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Sheet1!$A$2:$A$22</c:f>
              <c:strCache>
                <c:ptCount val="21"/>
                <c:pt idx="0">
                  <c:v>0-4세</c:v>
                </c:pt>
                <c:pt idx="1">
                  <c:v>5-9세</c:v>
                </c:pt>
                <c:pt idx="2">
                  <c:v>10-14세</c:v>
                </c:pt>
                <c:pt idx="3">
                  <c:v>15-19세</c:v>
                </c:pt>
                <c:pt idx="4">
                  <c:v>20-24세</c:v>
                </c:pt>
                <c:pt idx="5">
                  <c:v>25-29세</c:v>
                </c:pt>
                <c:pt idx="6">
                  <c:v>30-34세</c:v>
                </c:pt>
                <c:pt idx="7">
                  <c:v>35-39세</c:v>
                </c:pt>
                <c:pt idx="8">
                  <c:v>40-44세</c:v>
                </c:pt>
                <c:pt idx="9">
                  <c:v>45-49세</c:v>
                </c:pt>
                <c:pt idx="10">
                  <c:v>50-54세</c:v>
                </c:pt>
                <c:pt idx="11">
                  <c:v>55-59세</c:v>
                </c:pt>
                <c:pt idx="12">
                  <c:v>60-64세</c:v>
                </c:pt>
                <c:pt idx="13">
                  <c:v>65-69세</c:v>
                </c:pt>
                <c:pt idx="14">
                  <c:v>70-74세</c:v>
                </c:pt>
                <c:pt idx="15">
                  <c:v>75-79세</c:v>
                </c:pt>
                <c:pt idx="16">
                  <c:v>80-84세</c:v>
                </c:pt>
                <c:pt idx="17">
                  <c:v>85-89세</c:v>
                </c:pt>
                <c:pt idx="18">
                  <c:v>90-94세</c:v>
                </c:pt>
                <c:pt idx="19">
                  <c:v>95-99세</c:v>
                </c:pt>
                <c:pt idx="20">
                  <c:v>100세 이상</c:v>
                </c:pt>
              </c:strCache>
            </c:strRef>
          </c:cat>
          <c:val>
            <c:numRef>
              <c:f>Sheet1!$F$2:$F$22</c:f>
              <c:numCache>
                <c:formatCode>#,##0</c:formatCode>
                <c:ptCount val="21"/>
                <c:pt idx="0">
                  <c:v>13</c:v>
                </c:pt>
                <c:pt idx="1">
                  <c:v>14</c:v>
                </c:pt>
                <c:pt idx="2">
                  <c:v>26</c:v>
                </c:pt>
                <c:pt idx="3">
                  <c:v>21</c:v>
                </c:pt>
                <c:pt idx="4">
                  <c:v>38</c:v>
                </c:pt>
                <c:pt idx="5">
                  <c:v>50</c:v>
                </c:pt>
                <c:pt idx="6">
                  <c:v>103</c:v>
                </c:pt>
                <c:pt idx="7">
                  <c:v>137</c:v>
                </c:pt>
                <c:pt idx="8">
                  <c:v>249</c:v>
                </c:pt>
                <c:pt idx="9">
                  <c:v>430</c:v>
                </c:pt>
                <c:pt idx="10">
                  <c:v>868</c:v>
                </c:pt>
                <c:pt idx="11">
                  <c:v>1304</c:v>
                </c:pt>
                <c:pt idx="12">
                  <c:v>1628</c:v>
                </c:pt>
                <c:pt idx="13">
                  <c:v>2009</c:v>
                </c:pt>
                <c:pt idx="14">
                  <c:v>2458</c:v>
                </c:pt>
                <c:pt idx="15">
                  <c:v>2349</c:v>
                </c:pt>
                <c:pt idx="16">
                  <c:v>1407</c:v>
                </c:pt>
                <c:pt idx="17">
                  <c:v>590</c:v>
                </c:pt>
                <c:pt idx="18">
                  <c:v>156</c:v>
                </c:pt>
                <c:pt idx="19">
                  <c:v>14</c:v>
                </c:pt>
                <c:pt idx="20">
                  <c:v>3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4-FD93-4F7E-993D-E0FBCBD845B8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2015</c:v>
                </c:pt>
              </c:strCache>
            </c:strRef>
          </c:tx>
          <c:spPr>
            <a:ln w="57150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Sheet1!$A$2:$A$22</c:f>
              <c:strCache>
                <c:ptCount val="21"/>
                <c:pt idx="0">
                  <c:v>0-4세</c:v>
                </c:pt>
                <c:pt idx="1">
                  <c:v>5-9세</c:v>
                </c:pt>
                <c:pt idx="2">
                  <c:v>10-14세</c:v>
                </c:pt>
                <c:pt idx="3">
                  <c:v>15-19세</c:v>
                </c:pt>
                <c:pt idx="4">
                  <c:v>20-24세</c:v>
                </c:pt>
                <c:pt idx="5">
                  <c:v>25-29세</c:v>
                </c:pt>
                <c:pt idx="6">
                  <c:v>30-34세</c:v>
                </c:pt>
                <c:pt idx="7">
                  <c:v>35-39세</c:v>
                </c:pt>
                <c:pt idx="8">
                  <c:v>40-44세</c:v>
                </c:pt>
                <c:pt idx="9">
                  <c:v>45-49세</c:v>
                </c:pt>
                <c:pt idx="10">
                  <c:v>50-54세</c:v>
                </c:pt>
                <c:pt idx="11">
                  <c:v>55-59세</c:v>
                </c:pt>
                <c:pt idx="12">
                  <c:v>60-64세</c:v>
                </c:pt>
                <c:pt idx="13">
                  <c:v>65-69세</c:v>
                </c:pt>
                <c:pt idx="14">
                  <c:v>70-74세</c:v>
                </c:pt>
                <c:pt idx="15">
                  <c:v>75-79세</c:v>
                </c:pt>
                <c:pt idx="16">
                  <c:v>80-84세</c:v>
                </c:pt>
                <c:pt idx="17">
                  <c:v>85-89세</c:v>
                </c:pt>
                <c:pt idx="18">
                  <c:v>90-94세</c:v>
                </c:pt>
                <c:pt idx="19">
                  <c:v>95-99세</c:v>
                </c:pt>
                <c:pt idx="20">
                  <c:v>100세 이상</c:v>
                </c:pt>
              </c:strCache>
            </c:strRef>
          </c:cat>
          <c:val>
            <c:numRef>
              <c:f>Sheet1!$G$2:$G$22</c:f>
              <c:numCache>
                <c:formatCode>#,##0</c:formatCode>
                <c:ptCount val="21"/>
                <c:pt idx="0">
                  <c:v>14</c:v>
                </c:pt>
                <c:pt idx="1">
                  <c:v>15</c:v>
                </c:pt>
                <c:pt idx="2">
                  <c:v>27</c:v>
                </c:pt>
                <c:pt idx="3">
                  <c:v>18</c:v>
                </c:pt>
                <c:pt idx="4">
                  <c:v>42</c:v>
                </c:pt>
                <c:pt idx="5">
                  <c:v>45</c:v>
                </c:pt>
                <c:pt idx="6">
                  <c:v>95</c:v>
                </c:pt>
                <c:pt idx="7">
                  <c:v>145</c:v>
                </c:pt>
                <c:pt idx="8">
                  <c:v>205</c:v>
                </c:pt>
                <c:pt idx="9">
                  <c:v>443</c:v>
                </c:pt>
                <c:pt idx="10">
                  <c:v>758</c:v>
                </c:pt>
                <c:pt idx="11">
                  <c:v>1350</c:v>
                </c:pt>
                <c:pt idx="12">
                  <c:v>1679</c:v>
                </c:pt>
                <c:pt idx="13">
                  <c:v>2094</c:v>
                </c:pt>
                <c:pt idx="14">
                  <c:v>2384</c:v>
                </c:pt>
                <c:pt idx="15">
                  <c:v>2380</c:v>
                </c:pt>
                <c:pt idx="16">
                  <c:v>1580</c:v>
                </c:pt>
                <c:pt idx="17">
                  <c:v>644</c:v>
                </c:pt>
                <c:pt idx="18">
                  <c:v>169</c:v>
                </c:pt>
                <c:pt idx="19">
                  <c:v>27</c:v>
                </c:pt>
                <c:pt idx="20">
                  <c:v>0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5-FD93-4F7E-993D-E0FBCBD845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1354752"/>
        <c:axId val="151372928"/>
      </c:lineChart>
      <c:catAx>
        <c:axId val="1513547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151372928"/>
        <c:crosses val="autoZero"/>
        <c:auto val="1"/>
        <c:lblAlgn val="ctr"/>
        <c:lblOffset val="100"/>
        <c:noMultiLvlLbl val="0"/>
      </c:catAx>
      <c:valAx>
        <c:axId val="151372928"/>
        <c:scaling>
          <c:orientation val="minMax"/>
          <c:max val="25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1513547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ko-K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Stoma op cas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cat>
            <c:strRef>
              <c:f>Sheet1!$B$1:$F$1</c:f>
              <c:strCache>
                <c:ptCount val="5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</c:strCache>
            </c:strRef>
          </c:cat>
          <c:val>
            <c:numRef>
              <c:f>Sheet1!$B$2:$F$2</c:f>
              <c:numCache>
                <c:formatCode>General</c:formatCode>
                <c:ptCount val="5"/>
                <c:pt idx="0">
                  <c:v>6635</c:v>
                </c:pt>
                <c:pt idx="1">
                  <c:v>7154</c:v>
                </c:pt>
                <c:pt idx="2">
                  <c:v>7467</c:v>
                </c:pt>
                <c:pt idx="3">
                  <c:v>7766</c:v>
                </c:pt>
                <c:pt idx="4">
                  <c:v>742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7F66-4ED9-B13E-2AF51336DA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151417984"/>
        <c:axId val="151419520"/>
        <c:axId val="0"/>
      </c:bar3DChart>
      <c:catAx>
        <c:axId val="1514179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151419520"/>
        <c:crosses val="autoZero"/>
        <c:auto val="1"/>
        <c:lblAlgn val="ctr"/>
        <c:lblOffset val="100"/>
        <c:noMultiLvlLbl val="0"/>
      </c:catAx>
      <c:valAx>
        <c:axId val="151419520"/>
        <c:scaling>
          <c:orientation val="minMax"/>
          <c:max val="7500"/>
          <c:min val="6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151417984"/>
        <c:crosses val="autoZero"/>
        <c:crossBetween val="between"/>
        <c:majorUnit val="500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ko-K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1">
    <c:autoUpdate val="0"/>
  </c:externalData>
  <c:userShapes r:id="rId2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4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6777</cdr:x>
      <cdr:y>0.39094</cdr:y>
    </cdr:from>
    <cdr:to>
      <cdr:x>0.26222</cdr:x>
      <cdr:y>0.48771</cdr:y>
    </cdr:to>
    <cdr:sp macro="" textlink="">
      <cdr:nvSpPr>
        <cdr:cNvPr id="2" name="타원 1"/>
        <cdr:cNvSpPr/>
      </cdr:nvSpPr>
      <cdr:spPr bwMode="auto">
        <a:xfrm xmlns:a="http://schemas.openxmlformats.org/drawingml/2006/main">
          <a:off x="1240462" y="1745345"/>
          <a:ext cx="698376" cy="432048"/>
        </a:xfrm>
        <a:prstGeom xmlns:a="http://schemas.openxmlformats.org/drawingml/2006/main" prst="ellipse">
          <a:avLst/>
        </a:prstGeom>
        <a:solidFill xmlns:a="http://schemas.openxmlformats.org/drawingml/2006/main">
          <a:schemeClr val="tx2">
            <a:lumMod val="50000"/>
          </a:schemeClr>
        </a:solidFill>
        <a:ln xmlns:a="http://schemas.openxmlformats.org/drawingml/2006/main"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 xmlns:a="http://schemas.openxmlformats.org/drawingml/2006/main"/>
      </cdr:spPr>
      <cdr:txBody>
        <a:bodyPr xmlns:a="http://schemas.openxmlformats.org/drawingml/2006/main" vertOverflow="clip" vert="horz" wrap="none" lIns="0" tIns="0" rIns="0" bIns="0" numCol="1" anchor="t" anchorCtr="0" compatLnSpc="1">
          <a:prstTxWarp prst="textNoShape">
            <a:avLst/>
          </a:prstTxWarp>
        </a:bodyPr>
        <a:lstStyle xmlns:a="http://schemas.openxmlformats.org/drawingml/2006/main"/>
        <a:p xmlns:a="http://schemas.openxmlformats.org/drawingml/2006/main">
          <a:pPr algn="ctr"/>
          <a:r>
            <a:rPr lang="en-US" altLang="ko-KR" sz="1400" dirty="0" smtClean="0">
              <a:solidFill>
                <a:schemeClr val="bg1"/>
              </a:solidFill>
            </a:rPr>
            <a:t>6%</a:t>
          </a:r>
          <a:endParaRPr lang="ko-KR" sz="1400" dirty="0">
            <a:solidFill>
              <a:schemeClr val="bg1"/>
            </a:solidFill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75167</cdr:x>
      <cdr:y>0</cdr:y>
    </cdr:from>
    <cdr:to>
      <cdr:x>0.83113</cdr:x>
      <cdr:y>0.11111</cdr:y>
    </cdr:to>
    <cdr:sp macro="" textlink="">
      <cdr:nvSpPr>
        <cdr:cNvPr id="2" name="타원 1"/>
        <cdr:cNvSpPr/>
      </cdr:nvSpPr>
      <cdr:spPr bwMode="auto">
        <a:xfrm xmlns:a="http://schemas.openxmlformats.org/drawingml/2006/main">
          <a:off x="5448937" y="0"/>
          <a:ext cx="576064" cy="432048"/>
        </a:xfrm>
        <a:prstGeom xmlns:a="http://schemas.openxmlformats.org/drawingml/2006/main" prst="ellipse">
          <a:avLst/>
        </a:prstGeom>
        <a:solidFill xmlns:a="http://schemas.openxmlformats.org/drawingml/2006/main">
          <a:schemeClr val="tx2">
            <a:lumMod val="50000"/>
          </a:schemeClr>
        </a:solidFill>
        <a:ln xmlns:a="http://schemas.openxmlformats.org/drawingml/2006/main"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 xmlns:a="http://schemas.openxmlformats.org/drawingml/2006/main"/>
      </cdr:spPr>
      <cdr:txBody>
        <a:bodyPr xmlns:a="http://schemas.openxmlformats.org/drawingml/2006/main" vertOverflow="clip" vert="horz" wrap="none" lIns="0" tIns="0" rIns="0" bIns="0" numCol="1" anchor="t" anchorCtr="0" compatLnSpc="1">
          <a:prstTxWarp prst="textNoShape">
            <a:avLst/>
          </a:prstTxWarp>
        </a:bodyPr>
        <a:lstStyle xmlns:a="http://schemas.openxmlformats.org/drawingml/2006/main"/>
        <a:p xmlns:a="http://schemas.openxmlformats.org/drawingml/2006/main">
          <a:pPr algn="ctr"/>
          <a:r>
            <a:rPr lang="en-US" altLang="ko-KR" sz="1400" b="1" dirty="0" smtClean="0">
              <a:solidFill>
                <a:schemeClr val="bg1"/>
              </a:solidFill>
            </a:rPr>
            <a:t>-4%</a:t>
          </a:r>
          <a:endParaRPr lang="ko-KR" sz="1400" b="1" dirty="0">
            <a:solidFill>
              <a:schemeClr val="bg1"/>
            </a:solidFill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latinLnBrk="0">
              <a:defRPr kumimoji="0" sz="1200"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latinLnBrk="0">
              <a:defRPr kumimoji="0" sz="1200"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85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latinLnBrk="0">
              <a:defRPr kumimoji="0" sz="1200"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latinLnBrk="0">
              <a:defRPr kumimoji="0" sz="1200">
                <a:ea typeface="+mn-ea"/>
              </a:defRPr>
            </a:lvl1pPr>
          </a:lstStyle>
          <a:p>
            <a:pPr>
              <a:defRPr/>
            </a:pPr>
            <a:fld id="{55E43182-D8BC-41DC-B758-0B98D911582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441052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93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8A421D24-5B5A-4CCB-9E80-CEB6418E9D3A}" type="slidenum">
              <a:rPr lang="en-GB" altLang="ko-KR" smtClean="0">
                <a:ea typeface="굴림" charset="-127"/>
              </a:rPr>
              <a:pPr/>
              <a:t>1</a:t>
            </a:fld>
            <a:endParaRPr lang="en-GB" altLang="ko-KR" smtClean="0">
              <a:ea typeface="굴림" charset="-127"/>
            </a:endParaRPr>
          </a:p>
        </p:txBody>
      </p:sp>
      <p:sp>
        <p:nvSpPr>
          <p:cNvPr id="110594" name="Rectangle 1026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0595" name="Rectangle 1027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fr-FR" altLang="ko-KR" smtClean="0">
              <a:ea typeface="굴림" charset="-127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90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2390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ko-KR" altLang="en-US" smtClean="0">
              <a:ea typeface="굴림" charset="-127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tiff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pn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pn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.png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png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/>
          <p:cNvPicPr>
            <a:picLocks noChangeAspect="1" noChangeArrowheads="1"/>
          </p:cNvPicPr>
          <p:nvPr/>
        </p:nvPicPr>
        <p:blipFill>
          <a:blip r:embed="rId2" cstate="print"/>
          <a:srcRect l="937" t="29071" r="38350" b="11629"/>
          <a:stretch>
            <a:fillRect/>
          </a:stretch>
        </p:blipFill>
        <p:spPr bwMode="auto">
          <a:xfrm>
            <a:off x="0" y="0"/>
            <a:ext cx="9140825" cy="287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" name="Group 42"/>
          <p:cNvGrpSpPr>
            <a:grpSpLocks/>
          </p:cNvGrpSpPr>
          <p:nvPr userDrawn="1"/>
        </p:nvGrpSpPr>
        <p:grpSpPr bwMode="auto">
          <a:xfrm>
            <a:off x="0" y="5562600"/>
            <a:ext cx="9140825" cy="822325"/>
            <a:chOff x="0" y="3504"/>
            <a:chExt cx="5758" cy="518"/>
          </a:xfrm>
        </p:grpSpPr>
        <p:pic>
          <p:nvPicPr>
            <p:cNvPr id="6" name="Picture 43" descr="ColoplastTitleslide"/>
            <p:cNvPicPr>
              <a:picLocks noChangeAspect="1" noChangeArrowheads="1"/>
            </p:cNvPicPr>
            <p:nvPr userDrawn="1"/>
          </p:nvPicPr>
          <p:blipFill>
            <a:blip r:embed="rId3" cstate="print"/>
            <a:srcRect r="40" b="24709"/>
            <a:stretch>
              <a:fillRect/>
            </a:stretch>
          </p:blipFill>
          <p:spPr bwMode="auto">
            <a:xfrm>
              <a:off x="0" y="3504"/>
              <a:ext cx="5758" cy="5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" name="Rectangle 44"/>
            <p:cNvSpPr>
              <a:spLocks noChangeArrowheads="1"/>
            </p:cNvSpPr>
            <p:nvPr userDrawn="1"/>
          </p:nvSpPr>
          <p:spPr bwMode="auto">
            <a:xfrm>
              <a:off x="204" y="3867"/>
              <a:ext cx="748" cy="154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latinLnBrk="0">
                <a:defRPr/>
              </a:pPr>
              <a:endParaRPr kumimoji="0" lang="en-US" dirty="0">
                <a:ea typeface="+mn-ea"/>
              </a:endParaRPr>
            </a:p>
          </p:txBody>
        </p:sp>
      </p:grpSp>
      <p:pic>
        <p:nvPicPr>
          <p:cNvPr id="8" name="Picture 46" descr="Bundostomy"/>
          <p:cNvPicPr>
            <a:picLocks noChangeAspect="1" noChangeArrowheads="1"/>
          </p:cNvPicPr>
          <p:nvPr userDrawn="1"/>
        </p:nvPicPr>
        <p:blipFill>
          <a:blip r:embed="rId4" cstate="print"/>
          <a:srcRect l="69656" t="75000" r="79"/>
          <a:stretch>
            <a:fillRect/>
          </a:stretch>
        </p:blipFill>
        <p:spPr bwMode="auto">
          <a:xfrm>
            <a:off x="6372225" y="6381750"/>
            <a:ext cx="2768600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34963" y="6292850"/>
            <a:ext cx="124618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863600" y="1727200"/>
            <a:ext cx="7413625" cy="1871663"/>
          </a:xfrm>
        </p:spPr>
        <p:txBody>
          <a:bodyPr/>
          <a:lstStyle>
            <a:lvl1pPr>
              <a:lnSpc>
                <a:spcPct val="90000"/>
              </a:lnSpc>
              <a:defRPr sz="5000"/>
            </a:lvl1pPr>
          </a:lstStyle>
          <a:p>
            <a:r>
              <a:rPr lang="ko-KR" altLang="en-US" smtClean="0"/>
              <a:t>마스터 제목 스타일 편집</a:t>
            </a:r>
            <a:endParaRPr lang="en-US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863600" y="3598863"/>
            <a:ext cx="7413625" cy="900112"/>
          </a:xfrm>
        </p:spPr>
        <p:txBody>
          <a:bodyPr/>
          <a:lstStyle>
            <a:lvl1pPr marL="0" indent="0">
              <a:lnSpc>
                <a:spcPct val="93000"/>
              </a:lnSpc>
              <a:spcBef>
                <a:spcPct val="0"/>
              </a:spcBef>
              <a:buFontTx/>
              <a:buNone/>
              <a:defRPr/>
            </a:lvl1pPr>
          </a:lstStyle>
          <a:p>
            <a:r>
              <a:rPr lang="ko-KR" altLang="en-US" smtClean="0"/>
              <a:t>마스터 부제목 스타일 편집</a:t>
            </a:r>
            <a:endParaRPr lang="en-US"/>
          </a:p>
        </p:txBody>
      </p:sp>
      <p:sp>
        <p:nvSpPr>
          <p:cNvPr id="10" name="Rectangle 31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E210DF-49F8-45F6-AB33-2B9604706E9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Rectangle 32"/>
          <p:cNvSpPr>
            <a:spLocks noGrp="1" noChangeArrowheads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48733E-32CE-4108-A544-1F460B860E79}" type="datetime4">
              <a:rPr lang="en-GB"/>
              <a:pPr>
                <a:defRPr/>
              </a:pPr>
              <a:t>20 March 2017</a:t>
            </a:fld>
            <a:endParaRPr lang="en-US" dirty="0"/>
          </a:p>
        </p:txBody>
      </p:sp>
      <p:sp>
        <p:nvSpPr>
          <p:cNvPr id="12" name="Rectangle 33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03238" y="6173788"/>
            <a:ext cx="124618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7" descr="6CPlogo_Blue_RGB_PP_41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167563" y="6167438"/>
            <a:ext cx="1476375" cy="331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6" name="Straight Connector 7"/>
          <p:cNvCxnSpPr>
            <a:cxnSpLocks noChangeShapeType="1"/>
          </p:cNvCxnSpPr>
          <p:nvPr userDrawn="1"/>
        </p:nvCxnSpPr>
        <p:spPr bwMode="auto">
          <a:xfrm>
            <a:off x="503238" y="5921375"/>
            <a:ext cx="8137525" cy="1588"/>
          </a:xfrm>
          <a:prstGeom prst="line">
            <a:avLst/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</p:cxnSp>
      <p:sp>
        <p:nvSpPr>
          <p:cNvPr id="7" name="bmkFld2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8" name="bmkHeader"/>
          <p:cNvSpPr txBox="1"/>
          <p:nvPr userDrawn="1"/>
        </p:nvSpPr>
        <p:spPr>
          <a:xfrm>
            <a:off x="503238" y="255588"/>
            <a:ext cx="7632700" cy="165100"/>
          </a:xfrm>
          <a:prstGeom prst="rect">
            <a:avLst/>
          </a:prstGeom>
          <a:noFill/>
        </p:spPr>
        <p:txBody>
          <a:bodyPr lIns="0" tIns="0" rIns="0" bIns="0" anchor="b"/>
          <a:lstStyle/>
          <a:p>
            <a:pPr latinLnBrk="0">
              <a:defRPr/>
            </a:pPr>
            <a:endParaRPr kumimoji="0" lang="en-GB" sz="900" dirty="0">
              <a:solidFill>
                <a:srgbClr val="25397D"/>
              </a:solidFill>
              <a:ea typeface="+mn-ea"/>
            </a:endParaRPr>
          </a:p>
        </p:txBody>
      </p:sp>
      <p:sp>
        <p:nvSpPr>
          <p:cNvPr id="9" name="bmkFld2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noProof="0" smtClean="0"/>
              <a:t>마스터 제목 스타일 편집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  <a:lvl6pPr>
              <a:defRPr baseline="0"/>
            </a:lvl6pPr>
            <a:lvl7pPr>
              <a:buFont typeface="Arial" pitchFamily="34" charset="0"/>
              <a:buChar char="•"/>
              <a:defRPr baseline="0"/>
            </a:lvl7pPr>
          </a:lstStyle>
          <a:p>
            <a:pPr lvl="0"/>
            <a:r>
              <a:rPr lang="ko-KR" altLang="en-US" noProof="0" smtClean="0"/>
              <a:t>마스터 텍스트 스타일을 편집합니다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셋째 수준</a:t>
            </a:r>
          </a:p>
          <a:p>
            <a:pPr lvl="3"/>
            <a:r>
              <a:rPr lang="ko-KR" altLang="en-US" noProof="0" smtClean="0"/>
              <a:t>넷째 수준</a:t>
            </a:r>
          </a:p>
          <a:p>
            <a:pPr lvl="4"/>
            <a:r>
              <a:rPr lang="ko-KR" altLang="en-US" noProof="0" smtClean="0"/>
              <a:t>다섯째 수준</a:t>
            </a:r>
            <a:endParaRPr lang="en-GB" noProof="0"/>
          </a:p>
        </p:txBody>
      </p:sp>
      <p:sp>
        <p:nvSpPr>
          <p:cNvPr id="10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D9D293A5-D79C-43AC-90C1-2D89A4102E9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03238" y="6173788"/>
            <a:ext cx="124618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7" descr="6CPlogo_Blue_RGB_PP_41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167563" y="6167438"/>
            <a:ext cx="1476375" cy="331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bmkFld3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cxnSp>
        <p:nvCxnSpPr>
          <p:cNvPr id="7" name="Straight Connector 10"/>
          <p:cNvCxnSpPr>
            <a:cxnSpLocks noChangeShapeType="1"/>
          </p:cNvCxnSpPr>
          <p:nvPr userDrawn="1"/>
        </p:nvCxnSpPr>
        <p:spPr bwMode="auto">
          <a:xfrm>
            <a:off x="503238" y="5921375"/>
            <a:ext cx="8137525" cy="1588"/>
          </a:xfrm>
          <a:prstGeom prst="line">
            <a:avLst/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</p:cxnSp>
      <p:sp>
        <p:nvSpPr>
          <p:cNvPr id="8" name="bmkHeader"/>
          <p:cNvSpPr txBox="1"/>
          <p:nvPr userDrawn="1"/>
        </p:nvSpPr>
        <p:spPr>
          <a:xfrm>
            <a:off x="503238" y="255588"/>
            <a:ext cx="7632700" cy="165100"/>
          </a:xfrm>
          <a:prstGeom prst="rect">
            <a:avLst/>
          </a:prstGeom>
          <a:noFill/>
        </p:spPr>
        <p:txBody>
          <a:bodyPr lIns="0" tIns="0" rIns="0" bIns="0" anchor="b"/>
          <a:lstStyle/>
          <a:p>
            <a:pPr latinLnBrk="0">
              <a:defRPr/>
            </a:pPr>
            <a:endParaRPr kumimoji="0" lang="en-GB" sz="900" dirty="0">
              <a:solidFill>
                <a:srgbClr val="25397D"/>
              </a:solidFill>
              <a:ea typeface="+mn-ea"/>
            </a:endParaRPr>
          </a:p>
        </p:txBody>
      </p:sp>
      <p:sp>
        <p:nvSpPr>
          <p:cNvPr id="9" name="bmkFld3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noProof="0" smtClean="0"/>
              <a:t>마스터 제목 스타일 편집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lnSpc>
                <a:spcPts val="2160"/>
              </a:lnSpc>
              <a:spcBef>
                <a:spcPts val="0"/>
              </a:spcBef>
              <a:buNone/>
              <a:tabLst/>
              <a:defRPr sz="1800" baseline="0"/>
            </a:lvl1pPr>
            <a:lvl2pPr marL="0" indent="0">
              <a:lnSpc>
                <a:spcPts val="1920"/>
              </a:lnSpc>
              <a:spcBef>
                <a:spcPts val="0"/>
              </a:spcBef>
              <a:buNone/>
              <a:defRPr sz="1600" baseline="0"/>
            </a:lvl2pPr>
            <a:lvl3pPr marL="0" indent="0">
              <a:lnSpc>
                <a:spcPts val="1920"/>
              </a:lnSpc>
              <a:spcBef>
                <a:spcPts val="0"/>
              </a:spcBef>
              <a:buNone/>
              <a:tabLst/>
              <a:defRPr sz="1600" baseline="0"/>
            </a:lvl3pPr>
            <a:lvl4pPr marL="0" indent="0">
              <a:lnSpc>
                <a:spcPts val="1920"/>
              </a:lnSpc>
              <a:spcBef>
                <a:spcPts val="0"/>
              </a:spcBef>
              <a:buNone/>
              <a:defRPr sz="1600" baseline="0"/>
            </a:lvl4pPr>
            <a:lvl5pPr marL="0" indent="0">
              <a:lnSpc>
                <a:spcPts val="1920"/>
              </a:lnSpc>
              <a:spcBef>
                <a:spcPts val="0"/>
              </a:spcBef>
              <a:buNone/>
              <a:defRPr sz="1600" baseline="0"/>
            </a:lvl5pPr>
          </a:lstStyle>
          <a:p>
            <a:pPr lvl="0"/>
            <a:r>
              <a:rPr lang="ko-KR" altLang="en-US" noProof="0" smtClean="0"/>
              <a:t>마스터 텍스트 스타일을 편집합니다</a:t>
            </a:r>
          </a:p>
        </p:txBody>
      </p:sp>
      <p:sp>
        <p:nvSpPr>
          <p:cNvPr id="10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9DB31947-CDB0-40FE-8D0F-A67647AEB69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03238" y="6173788"/>
            <a:ext cx="124618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7" descr="6CPlogo_Blue_RGB_PP_41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167563" y="6167438"/>
            <a:ext cx="1476375" cy="331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bmkFld4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cxnSp>
        <p:nvCxnSpPr>
          <p:cNvPr id="8" name="Straight Connector 11"/>
          <p:cNvCxnSpPr>
            <a:cxnSpLocks noChangeShapeType="1"/>
          </p:cNvCxnSpPr>
          <p:nvPr userDrawn="1"/>
        </p:nvCxnSpPr>
        <p:spPr bwMode="auto">
          <a:xfrm>
            <a:off x="503238" y="5921375"/>
            <a:ext cx="8137525" cy="1588"/>
          </a:xfrm>
          <a:prstGeom prst="line">
            <a:avLst/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</p:cxnSp>
      <p:sp>
        <p:nvSpPr>
          <p:cNvPr id="9" name="bmkHeader"/>
          <p:cNvSpPr txBox="1"/>
          <p:nvPr userDrawn="1"/>
        </p:nvSpPr>
        <p:spPr>
          <a:xfrm>
            <a:off x="503238" y="255588"/>
            <a:ext cx="7632700" cy="165100"/>
          </a:xfrm>
          <a:prstGeom prst="rect">
            <a:avLst/>
          </a:prstGeom>
          <a:noFill/>
        </p:spPr>
        <p:txBody>
          <a:bodyPr lIns="0" tIns="0" rIns="0" bIns="0" anchor="b"/>
          <a:lstStyle/>
          <a:p>
            <a:pPr latinLnBrk="0">
              <a:defRPr/>
            </a:pPr>
            <a:endParaRPr kumimoji="0" lang="en-GB" sz="900" dirty="0">
              <a:solidFill>
                <a:srgbClr val="25397D"/>
              </a:solidFill>
              <a:ea typeface="+mn-ea"/>
            </a:endParaRPr>
          </a:p>
        </p:txBody>
      </p:sp>
      <p:sp>
        <p:nvSpPr>
          <p:cNvPr id="10" name="bmkFld4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noProof="0" smtClean="0"/>
              <a:t>마스터 제목 스타일 편집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3999" y="1514475"/>
            <a:ext cx="3463200" cy="3986325"/>
          </a:xfrm>
        </p:spPr>
        <p:txBody>
          <a:bodyPr/>
          <a:lstStyle>
            <a:lvl1pPr marL="162000" indent="-162000">
              <a:tabLst/>
              <a:defRPr sz="1800"/>
            </a:lvl1pPr>
            <a:lvl2pPr marL="324000">
              <a:spcBef>
                <a:spcPts val="600"/>
              </a:spcBef>
              <a:tabLst/>
              <a:defRPr sz="1600"/>
            </a:lvl2pPr>
            <a:lvl3pPr marL="486000" indent="-162000">
              <a:spcBef>
                <a:spcPts val="600"/>
              </a:spcBef>
              <a:tabLst/>
              <a:defRPr sz="1600"/>
            </a:lvl3pPr>
            <a:lvl4pPr marL="648000">
              <a:spcBef>
                <a:spcPts val="600"/>
              </a:spcBef>
              <a:tabLst/>
              <a:defRPr sz="1600"/>
            </a:lvl4pPr>
            <a:lvl5pPr marL="810000" indent="-162000">
              <a:spcBef>
                <a:spcPts val="600"/>
              </a:spcBef>
              <a:tabLst/>
              <a:defRPr sz="1600" baseline="0"/>
            </a:lvl5pPr>
            <a:lvl6pPr marL="162000">
              <a:defRPr sz="1600"/>
            </a:lvl6pPr>
            <a:lvl7pPr marL="972000" indent="-162000">
              <a:spcBef>
                <a:spcPts val="600"/>
              </a:spcBef>
              <a:buSzPct val="85000"/>
              <a:tabLst/>
              <a:defRPr lang="en-US" sz="1600" baseline="0">
                <a:solidFill>
                  <a:schemeClr val="bg2"/>
                </a:solidFill>
                <a:latin typeface="+mn-lt"/>
              </a:defRPr>
            </a:lvl7pPr>
            <a:lvl8pPr marL="1134000" indent="-162000">
              <a:spcBef>
                <a:spcPts val="600"/>
              </a:spcBef>
              <a:buSzPct val="85000"/>
              <a:tabLst/>
              <a:defRPr lang="en-US" sz="1600" baseline="0">
                <a:solidFill>
                  <a:schemeClr val="bg2"/>
                </a:solidFill>
                <a:latin typeface="+mn-lt"/>
              </a:defRPr>
            </a:lvl8pPr>
            <a:lvl9pPr>
              <a:defRPr sz="1800"/>
            </a:lvl9pPr>
          </a:lstStyle>
          <a:p>
            <a:pPr lvl="0"/>
            <a:r>
              <a:rPr lang="ko-KR" altLang="en-US" noProof="0" smtClean="0"/>
              <a:t>마스터 텍스트 스타일을 편집합니다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셋째 수준</a:t>
            </a:r>
          </a:p>
          <a:p>
            <a:pPr lvl="3"/>
            <a:r>
              <a:rPr lang="ko-KR" altLang="en-US" noProof="0" smtClean="0"/>
              <a:t>넷째 수준</a:t>
            </a:r>
          </a:p>
          <a:p>
            <a:pPr lvl="4"/>
            <a:r>
              <a:rPr lang="ko-KR" altLang="en-US" noProof="0" smtClean="0"/>
              <a:t>다섯째 수준</a:t>
            </a:r>
            <a:endParaRPr lang="en-GB" noProof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1200" y="1514475"/>
            <a:ext cx="4168800" cy="3986325"/>
          </a:xfrm>
        </p:spPr>
        <p:txBody>
          <a:bodyPr/>
          <a:lstStyle>
            <a:lvl1pPr marL="162000">
              <a:defRPr sz="1800"/>
            </a:lvl1pPr>
            <a:lvl2pPr marL="324000">
              <a:spcBef>
                <a:spcPts val="600"/>
              </a:spcBef>
              <a:defRPr sz="1600"/>
            </a:lvl2pPr>
            <a:lvl3pPr marL="486000">
              <a:spcBef>
                <a:spcPts val="600"/>
              </a:spcBef>
              <a:defRPr sz="1600"/>
            </a:lvl3pPr>
            <a:lvl4pPr marL="648000">
              <a:spcBef>
                <a:spcPts val="600"/>
              </a:spcBef>
              <a:defRPr sz="1600"/>
            </a:lvl4pPr>
            <a:lvl5pPr marL="810000" indent="-162000">
              <a:spcBef>
                <a:spcPts val="600"/>
              </a:spcBef>
              <a:defRPr sz="1600"/>
            </a:lvl5pPr>
            <a:lvl6pPr marL="972000">
              <a:defRPr sz="1600"/>
            </a:lvl6pPr>
            <a:lvl7pPr>
              <a:buFont typeface="Arial" pitchFamily="34" charset="0"/>
              <a:buChar char="•"/>
              <a:defRPr lang="en-US" sz="1600" smtClean="0">
                <a:solidFill>
                  <a:schemeClr val="bg2"/>
                </a:solidFill>
                <a:latin typeface="+mn-lt"/>
              </a:defRPr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noProof="0" smtClean="0"/>
              <a:t>마스터 텍스트 스타일을 편집합니다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셋째 수준</a:t>
            </a:r>
          </a:p>
          <a:p>
            <a:pPr lvl="3"/>
            <a:r>
              <a:rPr lang="ko-KR" altLang="en-US" noProof="0" smtClean="0"/>
              <a:t>넷째 수준</a:t>
            </a:r>
          </a:p>
          <a:p>
            <a:pPr lvl="4"/>
            <a:r>
              <a:rPr lang="ko-KR" altLang="en-US" noProof="0" smtClean="0"/>
              <a:t>다섯째 수준</a:t>
            </a:r>
            <a:endParaRPr lang="en-GB" noProof="0" smtClean="0"/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F9571C13-54B7-4715-B1B4-3DE6F9678096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03238" y="6173788"/>
            <a:ext cx="124618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7" descr="6CPlogo_Blue_RGB_PP_41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167563" y="6167438"/>
            <a:ext cx="1476375" cy="331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bmkFld5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cxnSp>
        <p:nvCxnSpPr>
          <p:cNvPr id="8" name="Straight Connector 10"/>
          <p:cNvCxnSpPr>
            <a:cxnSpLocks noChangeShapeType="1"/>
          </p:cNvCxnSpPr>
          <p:nvPr userDrawn="1"/>
        </p:nvCxnSpPr>
        <p:spPr bwMode="auto">
          <a:xfrm>
            <a:off x="503238" y="5921375"/>
            <a:ext cx="8137525" cy="1588"/>
          </a:xfrm>
          <a:prstGeom prst="line">
            <a:avLst/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</p:cxnSp>
      <p:sp>
        <p:nvSpPr>
          <p:cNvPr id="9" name="bmkHeader"/>
          <p:cNvSpPr txBox="1"/>
          <p:nvPr userDrawn="1"/>
        </p:nvSpPr>
        <p:spPr>
          <a:xfrm>
            <a:off x="503238" y="255588"/>
            <a:ext cx="7632700" cy="165100"/>
          </a:xfrm>
          <a:prstGeom prst="rect">
            <a:avLst/>
          </a:prstGeom>
          <a:noFill/>
        </p:spPr>
        <p:txBody>
          <a:bodyPr lIns="0" tIns="0" rIns="0" bIns="0" anchor="b"/>
          <a:lstStyle/>
          <a:p>
            <a:pPr latinLnBrk="0">
              <a:defRPr/>
            </a:pPr>
            <a:endParaRPr kumimoji="0" lang="en-GB" sz="900" dirty="0">
              <a:solidFill>
                <a:srgbClr val="25397D"/>
              </a:solidFill>
              <a:ea typeface="+mn-ea"/>
            </a:endParaRPr>
          </a:p>
        </p:txBody>
      </p:sp>
      <p:sp>
        <p:nvSpPr>
          <p:cNvPr id="10" name="bmkFld5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noProof="0" smtClean="0"/>
              <a:t>마스터 제목 스타일 편집</a:t>
            </a:r>
            <a:endParaRPr lang="en-GB" noProof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4000" y="1514475"/>
            <a:ext cx="8136000" cy="4407525"/>
          </a:xfrm>
        </p:spPr>
        <p:txBody>
          <a:bodyPr/>
          <a:lstStyle/>
          <a:p>
            <a:pPr lvl="0"/>
            <a:r>
              <a:rPr lang="ko-KR" altLang="en-US" noProof="0" dirty="0" smtClean="0"/>
              <a:t>그림을 추가하려면 아이콘을 클릭하십시오</a:t>
            </a:r>
            <a:endParaRPr lang="en-GB" noProof="0" dirty="0"/>
          </a:p>
        </p:txBody>
      </p:sp>
      <p:sp>
        <p:nvSpPr>
          <p:cNvPr id="11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4039E398-6764-4022-A607-051BEBD309D7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 space for logo or department signa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03238" y="6173788"/>
            <a:ext cx="124618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7" descr="6CPlogo_Blue_RGB_PP_41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167563" y="6167438"/>
            <a:ext cx="1476375" cy="331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bmkFld6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cxnSp>
        <p:nvCxnSpPr>
          <p:cNvPr id="7" name="Straight Connector 9"/>
          <p:cNvCxnSpPr>
            <a:cxnSpLocks noChangeShapeType="1"/>
          </p:cNvCxnSpPr>
          <p:nvPr userDrawn="1"/>
        </p:nvCxnSpPr>
        <p:spPr bwMode="auto">
          <a:xfrm>
            <a:off x="503238" y="5921375"/>
            <a:ext cx="8137525" cy="1588"/>
          </a:xfrm>
          <a:prstGeom prst="line">
            <a:avLst/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</p:cxnSp>
      <p:sp>
        <p:nvSpPr>
          <p:cNvPr id="8" name="bmkHeader"/>
          <p:cNvSpPr txBox="1"/>
          <p:nvPr userDrawn="1"/>
        </p:nvSpPr>
        <p:spPr>
          <a:xfrm>
            <a:off x="503238" y="255588"/>
            <a:ext cx="7632700" cy="165100"/>
          </a:xfrm>
          <a:prstGeom prst="rect">
            <a:avLst/>
          </a:prstGeom>
          <a:noFill/>
        </p:spPr>
        <p:txBody>
          <a:bodyPr lIns="0" tIns="0" rIns="0" bIns="0" anchor="b"/>
          <a:lstStyle/>
          <a:p>
            <a:pPr latinLnBrk="0">
              <a:defRPr/>
            </a:pPr>
            <a:endParaRPr kumimoji="0" lang="en-GB" sz="900" dirty="0">
              <a:solidFill>
                <a:srgbClr val="25397D"/>
              </a:solidFill>
              <a:ea typeface="+mn-ea"/>
            </a:endParaRPr>
          </a:p>
        </p:txBody>
      </p:sp>
      <p:sp>
        <p:nvSpPr>
          <p:cNvPr id="9" name="bmkFld6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504000" y="936000"/>
            <a:ext cx="8136000" cy="4986000"/>
          </a:xfrm>
          <a:solidFill>
            <a:schemeClr val="bg2"/>
          </a:solidFill>
        </p:spPr>
        <p:txBody>
          <a:bodyPr/>
          <a:lstStyle/>
          <a:p>
            <a:pPr lvl="0"/>
            <a:r>
              <a:rPr lang="ko-KR" altLang="en-US" noProof="0" dirty="0" smtClean="0"/>
              <a:t>그림을 추가하려면 아이콘을 클릭하십시오</a:t>
            </a:r>
            <a:endParaRPr lang="en-GB" noProof="0" dirty="0"/>
          </a:p>
        </p:txBody>
      </p:sp>
      <p:sp>
        <p:nvSpPr>
          <p:cNvPr id="10" name="Slide Number Placehold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424BDB0B-8ED5-4F83-9213-9737E704548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03238" y="6173788"/>
            <a:ext cx="124618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7" descr="6CPlogo_Blue_RGB_PP_41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167563" y="6167438"/>
            <a:ext cx="1476375" cy="331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bmkFld7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cxnSp>
        <p:nvCxnSpPr>
          <p:cNvPr id="7" name="Straight Connector 9"/>
          <p:cNvCxnSpPr>
            <a:cxnSpLocks noChangeShapeType="1"/>
          </p:cNvCxnSpPr>
          <p:nvPr userDrawn="1"/>
        </p:nvCxnSpPr>
        <p:spPr bwMode="auto">
          <a:xfrm>
            <a:off x="503238" y="5921375"/>
            <a:ext cx="8137525" cy="1588"/>
          </a:xfrm>
          <a:prstGeom prst="line">
            <a:avLst/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</p:cxnSp>
      <p:sp>
        <p:nvSpPr>
          <p:cNvPr id="8" name="bmkFld7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504000" y="504000"/>
            <a:ext cx="8136000" cy="5418000"/>
          </a:xfrm>
        </p:spPr>
        <p:txBody>
          <a:bodyPr/>
          <a:lstStyle/>
          <a:p>
            <a:pPr lvl="0"/>
            <a:r>
              <a:rPr lang="ko-KR" altLang="en-US" noProof="0" dirty="0" smtClean="0"/>
              <a:t>그림을 추가하려면 아이콘을 클릭하십시오</a:t>
            </a:r>
            <a:endParaRPr lang="en-GB" noProof="0" dirty="0"/>
          </a:p>
        </p:txBody>
      </p:sp>
      <p:sp>
        <p:nvSpPr>
          <p:cNvPr id="9" name="Slide Number Placehold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8D6317C5-5AD5-4554-A200-8488802B9A6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03238" y="6173788"/>
            <a:ext cx="124618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7" descr="6CPlogo_Blue_RGB_PP_41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167563" y="6167438"/>
            <a:ext cx="1476375" cy="331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bmkFld8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cxnSp>
        <p:nvCxnSpPr>
          <p:cNvPr id="6" name="Straight Connector 9"/>
          <p:cNvCxnSpPr>
            <a:cxnSpLocks noChangeShapeType="1"/>
          </p:cNvCxnSpPr>
          <p:nvPr userDrawn="1"/>
        </p:nvCxnSpPr>
        <p:spPr bwMode="auto">
          <a:xfrm>
            <a:off x="503238" y="5921375"/>
            <a:ext cx="8137525" cy="1588"/>
          </a:xfrm>
          <a:prstGeom prst="line">
            <a:avLst/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</p:cxnSp>
      <p:sp>
        <p:nvSpPr>
          <p:cNvPr id="7" name="bmkHeader"/>
          <p:cNvSpPr txBox="1"/>
          <p:nvPr userDrawn="1"/>
        </p:nvSpPr>
        <p:spPr>
          <a:xfrm>
            <a:off x="503238" y="255588"/>
            <a:ext cx="7632700" cy="165100"/>
          </a:xfrm>
          <a:prstGeom prst="rect">
            <a:avLst/>
          </a:prstGeom>
          <a:noFill/>
        </p:spPr>
        <p:txBody>
          <a:bodyPr lIns="0" tIns="0" rIns="0" bIns="0" anchor="b"/>
          <a:lstStyle/>
          <a:p>
            <a:pPr latinLnBrk="0">
              <a:defRPr/>
            </a:pPr>
            <a:endParaRPr kumimoji="0" lang="en-GB" sz="900" dirty="0">
              <a:solidFill>
                <a:srgbClr val="25397D"/>
              </a:solidFill>
              <a:ea typeface="+mn-ea"/>
            </a:endParaRPr>
          </a:p>
        </p:txBody>
      </p:sp>
      <p:sp>
        <p:nvSpPr>
          <p:cNvPr id="8" name="bmkFld8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noProof="0" smtClean="0"/>
              <a:t>마스터 제목 스타일 편집</a:t>
            </a:r>
            <a:endParaRPr lang="en-GB" noProof="0"/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49EC33FE-6AC3-4959-A7F6-73A5C6463651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03238" y="6173788"/>
            <a:ext cx="124618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7" descr="6CPlogo_Blue_RGB_PP_41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167563" y="6167438"/>
            <a:ext cx="1476375" cy="331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bmkFld9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cxnSp>
        <p:nvCxnSpPr>
          <p:cNvPr id="5" name="Straight Connector 7"/>
          <p:cNvCxnSpPr>
            <a:cxnSpLocks noChangeShapeType="1"/>
          </p:cNvCxnSpPr>
          <p:nvPr userDrawn="1"/>
        </p:nvCxnSpPr>
        <p:spPr bwMode="auto">
          <a:xfrm>
            <a:off x="503238" y="5921375"/>
            <a:ext cx="8137525" cy="1588"/>
          </a:xfrm>
          <a:prstGeom prst="line">
            <a:avLst/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</p:cxnSp>
      <p:sp>
        <p:nvSpPr>
          <p:cNvPr id="6" name="bmkHeader"/>
          <p:cNvSpPr txBox="1"/>
          <p:nvPr userDrawn="1"/>
        </p:nvSpPr>
        <p:spPr>
          <a:xfrm>
            <a:off x="503238" y="255588"/>
            <a:ext cx="7632700" cy="165100"/>
          </a:xfrm>
          <a:prstGeom prst="rect">
            <a:avLst/>
          </a:prstGeom>
          <a:noFill/>
        </p:spPr>
        <p:txBody>
          <a:bodyPr lIns="0" tIns="0" rIns="0" bIns="0" anchor="b"/>
          <a:lstStyle/>
          <a:p>
            <a:pPr latinLnBrk="0">
              <a:defRPr/>
            </a:pPr>
            <a:endParaRPr kumimoji="0" lang="en-GB" sz="900" dirty="0">
              <a:solidFill>
                <a:srgbClr val="25397D"/>
              </a:solidFill>
              <a:ea typeface="+mn-ea"/>
            </a:endParaRPr>
          </a:p>
        </p:txBody>
      </p:sp>
      <p:sp>
        <p:nvSpPr>
          <p:cNvPr id="7" name="bmkFld9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8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AF539BA6-8F91-4CB3-AA09-DEEDACE7EA2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slide corpor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03238" y="6173788"/>
            <a:ext cx="124618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7" descr="6CPlogo_Blue_RGB_PP_41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167563" y="6167438"/>
            <a:ext cx="1476375" cy="331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bmkFld11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6" name="bmkFld10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3999" y="5036400"/>
            <a:ext cx="7632000" cy="763200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ko-KR" altLang="en-US" noProof="0" smtClean="0"/>
              <a:t>마스터 제목 스타일 편집</a:t>
            </a:r>
            <a:endParaRPr lang="en-GB" noProof="0"/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BB99002B-03F5-4A88-B588-11CCB0FC6E97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slide business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03238" y="6173788"/>
            <a:ext cx="124618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7" descr="6CPlogo_Blue_RGB_PP_41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167563" y="6167438"/>
            <a:ext cx="1476375" cy="331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bmkFld12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6" name="bmkFld11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3999" y="4845600"/>
            <a:ext cx="7632000" cy="763200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ko-KR" altLang="en-US" noProof="0" smtClean="0"/>
              <a:t>마스터 제목 스타일 편집</a:t>
            </a:r>
            <a:endParaRPr lang="en-GB" noProof="0"/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C35339E9-B337-4FE3-9D9B-CFB1984EAA87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en-US"/>
          </a:p>
        </p:txBody>
      </p:sp>
      <p:sp>
        <p:nvSpPr>
          <p:cNvPr id="4" name="Rectangle 4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E7613F-BA4D-450B-BF94-69535E1E498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47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36232F-FFC1-43F7-B9CA-102D7AA037DA}" type="datetime4">
              <a:rPr lang="en-GB"/>
              <a:pPr>
                <a:defRPr/>
              </a:pPr>
              <a:t>20 March 2017</a:t>
            </a:fld>
            <a:endParaRPr lang="en-US" dirty="0"/>
          </a:p>
        </p:txBody>
      </p:sp>
      <p:sp>
        <p:nvSpPr>
          <p:cNvPr id="6" name="Rectangle 4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bullets for colored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03238" y="6173788"/>
            <a:ext cx="124618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7" descr="6CPlogo_Blue_RGB_PP_41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167563" y="6167438"/>
            <a:ext cx="1476375" cy="331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9"/>
          <p:cNvSpPr/>
          <p:nvPr userDrawn="1"/>
        </p:nvSpPr>
        <p:spPr bwMode="auto">
          <a:xfrm>
            <a:off x="0" y="0"/>
            <a:ext cx="8640763" cy="59213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/>
          <a:lstStyle/>
          <a:p>
            <a:pPr latinLnBrk="0">
              <a:defRPr/>
            </a:pPr>
            <a:endParaRPr kumimoji="0" lang="en-GB" dirty="0">
              <a:solidFill>
                <a:srgbClr val="000000"/>
              </a:solidFill>
              <a:ea typeface="+mn-ea"/>
            </a:endParaRPr>
          </a:p>
        </p:txBody>
      </p:sp>
      <p:sp>
        <p:nvSpPr>
          <p:cNvPr id="7" name="bmkFld13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8" name="bmkFld12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503999" y="1514474"/>
            <a:ext cx="7632000" cy="39143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ko-KR" altLang="en-US" noProof="0" smtClean="0"/>
              <a:t>마스터 텍스트 스타일을 편집합니다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셋째 수준</a:t>
            </a:r>
          </a:p>
          <a:p>
            <a:pPr lvl="3"/>
            <a:r>
              <a:rPr lang="ko-KR" altLang="en-US" noProof="0" smtClean="0"/>
              <a:t>넷째 수준</a:t>
            </a:r>
          </a:p>
          <a:p>
            <a:pPr lvl="4"/>
            <a:r>
              <a:rPr lang="ko-KR" altLang="en-US" noProof="0" smtClean="0"/>
              <a:t>다섯째 수준</a:t>
            </a:r>
            <a:endParaRPr lang="en-GB" noProof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503999" y="616023"/>
            <a:ext cx="7632000" cy="626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ko-KR" altLang="en-US" noProof="0" smtClean="0"/>
              <a:t>마스터 제목 스타일 편집</a:t>
            </a:r>
            <a:endParaRPr lang="en-GB" noProof="0"/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6D787586-FA5B-402A-9B15-CE14A4FE1DC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for colored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03238" y="6173788"/>
            <a:ext cx="124618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7" descr="6CPlogo_Blue_RGB_PP_41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167563" y="6167438"/>
            <a:ext cx="1476375" cy="331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9"/>
          <p:cNvSpPr/>
          <p:nvPr userDrawn="1"/>
        </p:nvSpPr>
        <p:spPr bwMode="auto">
          <a:xfrm>
            <a:off x="0" y="0"/>
            <a:ext cx="8640763" cy="59213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/>
          <a:lstStyle/>
          <a:p>
            <a:pPr latinLnBrk="0">
              <a:defRPr/>
            </a:pPr>
            <a:endParaRPr kumimoji="0" lang="en-GB" dirty="0">
              <a:solidFill>
                <a:srgbClr val="000000"/>
              </a:solidFill>
              <a:ea typeface="+mn-ea"/>
            </a:endParaRPr>
          </a:p>
        </p:txBody>
      </p:sp>
      <p:sp>
        <p:nvSpPr>
          <p:cNvPr id="7" name="bmkFld14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8" name="bmkFld13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503999" y="1514474"/>
            <a:ext cx="7632000" cy="3914325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ko-KR" altLang="en-US" noProof="0" smtClean="0"/>
              <a:t>마스터 텍스트 스타일을 편집합니다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셋째 수준</a:t>
            </a:r>
          </a:p>
          <a:p>
            <a:pPr lvl="3"/>
            <a:r>
              <a:rPr lang="ko-KR" altLang="en-US" noProof="0" smtClean="0"/>
              <a:t>넷째 수준</a:t>
            </a:r>
          </a:p>
          <a:p>
            <a:pPr lvl="4"/>
            <a:r>
              <a:rPr lang="ko-KR" altLang="en-US" noProof="0" smtClean="0"/>
              <a:t>다섯째 수준</a:t>
            </a:r>
            <a:endParaRPr lang="en-GB" noProof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503999" y="616023"/>
            <a:ext cx="7632000" cy="626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ko-KR" altLang="en-US" noProof="0" smtClean="0"/>
              <a:t>마스터 제목 스타일 편집</a:t>
            </a:r>
            <a:endParaRPr lang="en-GB" noProof="0"/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6059324F-2A31-4D57-B2E8-F50054E27DA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ion-Health-Histo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03238" y="6173788"/>
            <a:ext cx="124618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7" descr="6CPlogo_Blue_RGB_PP_41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167563" y="6167438"/>
            <a:ext cx="1476375" cy="331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bmkFld15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5" name="bmkFld14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7995CFA0-428E-46B9-BA0D-8A1551742BC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itle two conten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03238" y="6173788"/>
            <a:ext cx="124618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7" descr="6CPlogo_Blue_RGB_PP_41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167563" y="6167438"/>
            <a:ext cx="1476375" cy="331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9" name="Straight Connector 12"/>
          <p:cNvCxnSpPr>
            <a:cxnSpLocks noChangeShapeType="1"/>
          </p:cNvCxnSpPr>
          <p:nvPr userDrawn="1"/>
        </p:nvCxnSpPr>
        <p:spPr bwMode="auto">
          <a:xfrm>
            <a:off x="503238" y="5921375"/>
            <a:ext cx="8137525" cy="1588"/>
          </a:xfrm>
          <a:prstGeom prst="line">
            <a:avLst/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</p:cxnSp>
      <p:sp>
        <p:nvSpPr>
          <p:cNvPr id="10" name="bmkFld16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11" name="bmkHeader"/>
          <p:cNvSpPr txBox="1"/>
          <p:nvPr userDrawn="1"/>
        </p:nvSpPr>
        <p:spPr>
          <a:xfrm>
            <a:off x="503238" y="255588"/>
            <a:ext cx="7632700" cy="165100"/>
          </a:xfrm>
          <a:prstGeom prst="rect">
            <a:avLst/>
          </a:prstGeom>
          <a:noFill/>
        </p:spPr>
        <p:txBody>
          <a:bodyPr lIns="0" tIns="0" rIns="0" bIns="0" anchor="b"/>
          <a:lstStyle/>
          <a:p>
            <a:pPr latinLnBrk="0">
              <a:defRPr/>
            </a:pPr>
            <a:endParaRPr kumimoji="0" lang="en-GB" sz="900" dirty="0">
              <a:solidFill>
                <a:srgbClr val="25397D"/>
              </a:solidFill>
              <a:ea typeface="+mn-ea"/>
            </a:endParaRPr>
          </a:p>
        </p:txBody>
      </p:sp>
      <p:sp>
        <p:nvSpPr>
          <p:cNvPr id="12" name="bmkFld15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 noProof="0" smtClean="0"/>
              <a:t>마스터 제목 스타일 편집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4000" y="1535113"/>
            <a:ext cx="3826800" cy="536565"/>
          </a:xfrm>
        </p:spPr>
        <p:txBody>
          <a:bodyPr anchor="b"/>
          <a:lstStyle>
            <a:lvl1pPr marL="0" indent="0">
              <a:lnSpc>
                <a:spcPts val="2300"/>
              </a:lnSpc>
              <a:spcBef>
                <a:spcPts val="0"/>
              </a:spcBef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noProof="0" smtClean="0"/>
              <a:t>마스터 텍스트 스타일을 편집합니다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999" y="2174875"/>
            <a:ext cx="3826800" cy="333098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noProof="0" smtClean="0"/>
              <a:t>마스터 텍스트 스타일을 편집합니다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셋째 수준</a:t>
            </a:r>
          </a:p>
          <a:p>
            <a:pPr lvl="3"/>
            <a:r>
              <a:rPr lang="ko-KR" altLang="en-US" noProof="0" smtClean="0"/>
              <a:t>넷째 수준</a:t>
            </a:r>
          </a:p>
          <a:p>
            <a:pPr lvl="4"/>
            <a:r>
              <a:rPr lang="ko-KR" altLang="en-US" noProof="0" smtClean="0"/>
              <a:t>다섯째 수준</a:t>
            </a:r>
            <a:endParaRPr lang="en-GB" noProof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95200" y="1535113"/>
            <a:ext cx="3826800" cy="536400"/>
          </a:xfrm>
        </p:spPr>
        <p:txBody>
          <a:bodyPr anchor="b"/>
          <a:lstStyle>
            <a:lvl1pPr marL="0" indent="0">
              <a:lnSpc>
                <a:spcPts val="2300"/>
              </a:lnSpc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noProof="0" smtClean="0"/>
              <a:t>마스터 텍스트 스타일을 편집합니다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95200" y="2174875"/>
            <a:ext cx="3826800" cy="33300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noProof="0" smtClean="0"/>
              <a:t>마스터 텍스트 스타일을 편집합니다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셋째 수준</a:t>
            </a:r>
          </a:p>
          <a:p>
            <a:pPr lvl="3"/>
            <a:r>
              <a:rPr lang="ko-KR" altLang="en-US" noProof="0" smtClean="0"/>
              <a:t>넷째 수준</a:t>
            </a:r>
          </a:p>
          <a:p>
            <a:pPr lvl="4"/>
            <a:r>
              <a:rPr lang="ko-KR" altLang="en-US" noProof="0" smtClean="0"/>
              <a:t>다섯째 수준</a:t>
            </a:r>
            <a:endParaRPr lang="en-GB" noProof="0"/>
          </a:p>
        </p:txBody>
      </p:sp>
      <p:sp>
        <p:nvSpPr>
          <p:cNvPr id="13" name="Slide Number Placeholder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0CD24057-70B5-44FA-8DE2-B7353D3A26B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rpor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mkFPPicture" descr="Coloplast_Nature_Abstracts_02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8640763" cy="5919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3"/>
          <p:cNvSpPr/>
          <p:nvPr userDrawn="1"/>
        </p:nvSpPr>
        <p:spPr bwMode="auto">
          <a:xfrm>
            <a:off x="0" y="4381500"/>
            <a:ext cx="8640763" cy="1539875"/>
          </a:xfrm>
          <a:prstGeom prst="rect">
            <a:avLst/>
          </a:prstGeom>
          <a:solidFill>
            <a:srgbClr val="00B0CA">
              <a:alpha val="8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/>
          <a:lstStyle/>
          <a:p>
            <a:pPr latinLnBrk="0">
              <a:defRPr/>
            </a:pPr>
            <a:endParaRPr kumimoji="0" lang="en-GB" dirty="0">
              <a:solidFill>
                <a:srgbClr val="000000"/>
              </a:solidFill>
              <a:ea typeface="+mn-ea"/>
            </a:endParaRPr>
          </a:p>
        </p:txBody>
      </p:sp>
      <p:sp>
        <p:nvSpPr>
          <p:cNvPr id="6" name="bmkFldName"/>
          <p:cNvSpPr txBox="1"/>
          <p:nvPr userDrawn="1"/>
        </p:nvSpPr>
        <p:spPr>
          <a:xfrm>
            <a:off x="503238" y="5489575"/>
            <a:ext cx="7632700" cy="24606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1600" dirty="0">
              <a:solidFill>
                <a:srgbClr val="FFFFFF"/>
              </a:solidFill>
              <a:ea typeface="+mn-ea"/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03238" y="6173788"/>
            <a:ext cx="124618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bmkFld10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9" name="bmkHeader"/>
          <p:cNvSpPr txBox="1"/>
          <p:nvPr userDrawn="1"/>
        </p:nvSpPr>
        <p:spPr>
          <a:xfrm>
            <a:off x="503238" y="255588"/>
            <a:ext cx="7632700" cy="165100"/>
          </a:xfrm>
          <a:prstGeom prst="rect">
            <a:avLst/>
          </a:prstGeom>
          <a:noFill/>
        </p:spPr>
        <p:txBody>
          <a:bodyPr lIns="0" tIns="0" rIns="0" bIns="0" anchor="b"/>
          <a:lstStyle/>
          <a:p>
            <a:pPr latinLnBrk="0">
              <a:defRPr/>
            </a:pPr>
            <a:endParaRPr kumimoji="0" lang="en-GB" sz="900" dirty="0">
              <a:solidFill>
                <a:srgbClr val="25397D"/>
              </a:solidFill>
              <a:ea typeface="+mn-ea"/>
            </a:endParaRPr>
          </a:p>
        </p:txBody>
      </p:sp>
      <p:sp>
        <p:nvSpPr>
          <p:cNvPr id="10" name="bmkFld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pic>
        <p:nvPicPr>
          <p:cNvPr id="11" name="Picture 18" descr="6CPlogo_Blue_RGB_PP_41.png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167563" y="6167438"/>
            <a:ext cx="1476375" cy="331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8" name="Title 4097"/>
          <p:cNvSpPr>
            <a:spLocks noGrp="1" noChangeArrowheads="1"/>
          </p:cNvSpPr>
          <p:nvPr>
            <p:ph type="ctrTitle"/>
          </p:nvPr>
        </p:nvSpPr>
        <p:spPr>
          <a:xfrm>
            <a:off x="504000" y="4561200"/>
            <a:ext cx="7632000" cy="360000"/>
          </a:xfrm>
        </p:spPr>
        <p:txBody>
          <a:bodyPr/>
          <a:lstStyle>
            <a:lvl1pPr>
              <a:lnSpc>
                <a:spcPts val="29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altLang="ko-KR" noProof="0" smtClean="0"/>
              <a:t>Click to edit Master title style</a:t>
            </a:r>
            <a:endParaRPr lang="en-GB" noProof="0"/>
          </a:p>
        </p:txBody>
      </p:sp>
      <p:sp>
        <p:nvSpPr>
          <p:cNvPr id="4099" name="Subtitle 4098"/>
          <p:cNvSpPr>
            <a:spLocks noGrp="1" noChangeArrowheads="1"/>
          </p:cNvSpPr>
          <p:nvPr>
            <p:ph type="subTitle" idx="1"/>
          </p:nvPr>
        </p:nvSpPr>
        <p:spPr>
          <a:xfrm>
            <a:off x="504000" y="4939200"/>
            <a:ext cx="7632000" cy="360000"/>
          </a:xfrm>
        </p:spPr>
        <p:txBody>
          <a:bodyPr/>
          <a:lstStyle>
            <a:lvl1pPr marL="0" indent="0">
              <a:lnSpc>
                <a:spcPts val="1900"/>
              </a:lnSpc>
              <a:spcBef>
                <a:spcPct val="0"/>
              </a:spcBef>
              <a:buFontTx/>
              <a:buNone/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en-US" altLang="ko-KR" noProof="0" smtClean="0"/>
              <a:t>Click to edit Master subtitle style</a:t>
            </a:r>
            <a:endParaRPr lang="en-GB" noProof="0"/>
          </a:p>
        </p:txBody>
      </p:sp>
      <p:sp>
        <p:nvSpPr>
          <p:cNvPr id="12" name="Rectangle 3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2303463" y="6397625"/>
            <a:ext cx="1152525" cy="1016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0C818EE1-B17E-4924-AD70-DB085CBDE335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>
            <a:cxnSpLocks noChangeShapeType="1"/>
          </p:cNvCxnSpPr>
          <p:nvPr userDrawn="1"/>
        </p:nvCxnSpPr>
        <p:spPr bwMode="auto">
          <a:xfrm>
            <a:off x="503238" y="5921375"/>
            <a:ext cx="8137525" cy="1588"/>
          </a:xfrm>
          <a:prstGeom prst="line">
            <a:avLst/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</p:cxnSp>
      <p:sp>
        <p:nvSpPr>
          <p:cNvPr id="5" name="bmkFld2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6" name="bmkHeader"/>
          <p:cNvSpPr txBox="1"/>
          <p:nvPr userDrawn="1"/>
        </p:nvSpPr>
        <p:spPr>
          <a:xfrm>
            <a:off x="503238" y="255588"/>
            <a:ext cx="7632700" cy="165100"/>
          </a:xfrm>
          <a:prstGeom prst="rect">
            <a:avLst/>
          </a:prstGeom>
          <a:noFill/>
        </p:spPr>
        <p:txBody>
          <a:bodyPr lIns="0" tIns="0" rIns="0" bIns="0" anchor="b"/>
          <a:lstStyle/>
          <a:p>
            <a:pPr latinLnBrk="0">
              <a:defRPr/>
            </a:pPr>
            <a:endParaRPr kumimoji="0" lang="en-GB" sz="900" dirty="0">
              <a:solidFill>
                <a:srgbClr val="25397D"/>
              </a:solidFill>
              <a:ea typeface="+mn-ea"/>
            </a:endParaRPr>
          </a:p>
        </p:txBody>
      </p:sp>
      <p:sp>
        <p:nvSpPr>
          <p:cNvPr id="7" name="bmkFld2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noProof="0" smtClean="0"/>
              <a:t>마스터 제목 스타일 편집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  <a:lvl6pPr>
              <a:defRPr baseline="0"/>
            </a:lvl6pPr>
            <a:lvl7pPr>
              <a:buFont typeface="Arial" pitchFamily="34" charset="0"/>
              <a:buChar char="•"/>
              <a:defRPr baseline="0"/>
            </a:lvl7pPr>
          </a:lstStyle>
          <a:p>
            <a:pPr lvl="0"/>
            <a:r>
              <a:rPr lang="ko-KR" altLang="en-US" noProof="0" smtClean="0"/>
              <a:t>마스터 텍스트 스타일을 편집합니다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셋째 수준</a:t>
            </a:r>
          </a:p>
          <a:p>
            <a:pPr lvl="3"/>
            <a:r>
              <a:rPr lang="ko-KR" altLang="en-US" noProof="0" smtClean="0"/>
              <a:t>넷째 수준</a:t>
            </a:r>
          </a:p>
          <a:p>
            <a:pPr lvl="4"/>
            <a:r>
              <a:rPr lang="ko-KR" altLang="en-US" noProof="0" smtClean="0"/>
              <a:t>다섯째 수준</a:t>
            </a:r>
            <a:endParaRPr lang="en-GB" noProof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D980055C-231B-4C58-BCE0-1BD9AB91D7A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mkFld3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cxnSp>
        <p:nvCxnSpPr>
          <p:cNvPr id="5" name="Straight Connector 10"/>
          <p:cNvCxnSpPr>
            <a:cxnSpLocks noChangeShapeType="1"/>
          </p:cNvCxnSpPr>
          <p:nvPr userDrawn="1"/>
        </p:nvCxnSpPr>
        <p:spPr bwMode="auto">
          <a:xfrm>
            <a:off x="503238" y="5921375"/>
            <a:ext cx="8137525" cy="1588"/>
          </a:xfrm>
          <a:prstGeom prst="line">
            <a:avLst/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</p:cxnSp>
      <p:sp>
        <p:nvSpPr>
          <p:cNvPr id="6" name="bmkHeader"/>
          <p:cNvSpPr txBox="1"/>
          <p:nvPr userDrawn="1"/>
        </p:nvSpPr>
        <p:spPr>
          <a:xfrm>
            <a:off x="503238" y="255588"/>
            <a:ext cx="7632700" cy="165100"/>
          </a:xfrm>
          <a:prstGeom prst="rect">
            <a:avLst/>
          </a:prstGeom>
          <a:noFill/>
        </p:spPr>
        <p:txBody>
          <a:bodyPr lIns="0" tIns="0" rIns="0" bIns="0" anchor="b"/>
          <a:lstStyle/>
          <a:p>
            <a:pPr latinLnBrk="0">
              <a:defRPr/>
            </a:pPr>
            <a:endParaRPr kumimoji="0" lang="en-GB" sz="900" dirty="0">
              <a:solidFill>
                <a:srgbClr val="25397D"/>
              </a:solidFill>
              <a:ea typeface="+mn-ea"/>
            </a:endParaRPr>
          </a:p>
        </p:txBody>
      </p:sp>
      <p:sp>
        <p:nvSpPr>
          <p:cNvPr id="7" name="bmkFld3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noProof="0" smtClean="0"/>
              <a:t>마스터 제목 스타일 편집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lnSpc>
                <a:spcPts val="2160"/>
              </a:lnSpc>
              <a:spcBef>
                <a:spcPts val="0"/>
              </a:spcBef>
              <a:buNone/>
              <a:tabLst/>
              <a:defRPr sz="1800" baseline="0"/>
            </a:lvl1pPr>
            <a:lvl2pPr marL="0" indent="0">
              <a:lnSpc>
                <a:spcPts val="1920"/>
              </a:lnSpc>
              <a:spcBef>
                <a:spcPts val="0"/>
              </a:spcBef>
              <a:buNone/>
              <a:defRPr sz="1600" baseline="0"/>
            </a:lvl2pPr>
            <a:lvl3pPr marL="0" indent="0">
              <a:lnSpc>
                <a:spcPts val="1920"/>
              </a:lnSpc>
              <a:spcBef>
                <a:spcPts val="0"/>
              </a:spcBef>
              <a:buNone/>
              <a:tabLst/>
              <a:defRPr sz="1600" baseline="0"/>
            </a:lvl3pPr>
            <a:lvl4pPr marL="0" indent="0">
              <a:lnSpc>
                <a:spcPts val="1920"/>
              </a:lnSpc>
              <a:spcBef>
                <a:spcPts val="0"/>
              </a:spcBef>
              <a:buNone/>
              <a:defRPr sz="1600" baseline="0"/>
            </a:lvl4pPr>
            <a:lvl5pPr marL="0" indent="0">
              <a:lnSpc>
                <a:spcPts val="1920"/>
              </a:lnSpc>
              <a:spcBef>
                <a:spcPts val="0"/>
              </a:spcBef>
              <a:buNone/>
              <a:defRPr sz="1600" baseline="0"/>
            </a:lvl5pPr>
          </a:lstStyle>
          <a:p>
            <a:pPr lvl="0"/>
            <a:r>
              <a:rPr lang="ko-KR" altLang="en-US" noProof="0" smtClean="0"/>
              <a:t>마스터 텍스트 스타일을 편집합니다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AD809E99-1F55-40A2-B616-6CD1CAD97405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mkFld4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cxnSp>
        <p:nvCxnSpPr>
          <p:cNvPr id="6" name="Straight Connector 11"/>
          <p:cNvCxnSpPr>
            <a:cxnSpLocks noChangeShapeType="1"/>
          </p:cNvCxnSpPr>
          <p:nvPr userDrawn="1"/>
        </p:nvCxnSpPr>
        <p:spPr bwMode="auto">
          <a:xfrm>
            <a:off x="503238" y="5921375"/>
            <a:ext cx="8137525" cy="1588"/>
          </a:xfrm>
          <a:prstGeom prst="line">
            <a:avLst/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</p:cxnSp>
      <p:sp>
        <p:nvSpPr>
          <p:cNvPr id="7" name="bmkHeader"/>
          <p:cNvSpPr txBox="1"/>
          <p:nvPr userDrawn="1"/>
        </p:nvSpPr>
        <p:spPr>
          <a:xfrm>
            <a:off x="503238" y="255588"/>
            <a:ext cx="7632700" cy="165100"/>
          </a:xfrm>
          <a:prstGeom prst="rect">
            <a:avLst/>
          </a:prstGeom>
          <a:noFill/>
        </p:spPr>
        <p:txBody>
          <a:bodyPr lIns="0" tIns="0" rIns="0" bIns="0" anchor="b"/>
          <a:lstStyle/>
          <a:p>
            <a:pPr latinLnBrk="0">
              <a:defRPr/>
            </a:pPr>
            <a:endParaRPr kumimoji="0" lang="en-GB" sz="900" dirty="0">
              <a:solidFill>
                <a:srgbClr val="25397D"/>
              </a:solidFill>
              <a:ea typeface="+mn-ea"/>
            </a:endParaRPr>
          </a:p>
        </p:txBody>
      </p:sp>
      <p:sp>
        <p:nvSpPr>
          <p:cNvPr id="8" name="bmkFld4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noProof="0" smtClean="0"/>
              <a:t>마스터 제목 스타일 편집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3999" y="1514475"/>
            <a:ext cx="3463200" cy="3986325"/>
          </a:xfrm>
        </p:spPr>
        <p:txBody>
          <a:bodyPr/>
          <a:lstStyle>
            <a:lvl1pPr marL="162000" indent="-162000">
              <a:tabLst/>
              <a:defRPr sz="1800"/>
            </a:lvl1pPr>
            <a:lvl2pPr marL="324000">
              <a:spcBef>
                <a:spcPts val="600"/>
              </a:spcBef>
              <a:tabLst/>
              <a:defRPr sz="1600"/>
            </a:lvl2pPr>
            <a:lvl3pPr marL="486000" indent="-162000">
              <a:spcBef>
                <a:spcPts val="600"/>
              </a:spcBef>
              <a:tabLst/>
              <a:defRPr sz="1600"/>
            </a:lvl3pPr>
            <a:lvl4pPr marL="648000">
              <a:spcBef>
                <a:spcPts val="600"/>
              </a:spcBef>
              <a:tabLst/>
              <a:defRPr sz="1600"/>
            </a:lvl4pPr>
            <a:lvl5pPr marL="810000" indent="-162000">
              <a:spcBef>
                <a:spcPts val="600"/>
              </a:spcBef>
              <a:tabLst/>
              <a:defRPr sz="1600" baseline="0"/>
            </a:lvl5pPr>
            <a:lvl6pPr marL="162000">
              <a:defRPr sz="1600"/>
            </a:lvl6pPr>
            <a:lvl7pPr marL="972000" indent="-162000">
              <a:spcBef>
                <a:spcPts val="600"/>
              </a:spcBef>
              <a:buSzPct val="85000"/>
              <a:tabLst/>
              <a:defRPr lang="en-US" sz="1600" baseline="0">
                <a:solidFill>
                  <a:schemeClr val="bg2"/>
                </a:solidFill>
                <a:latin typeface="+mn-lt"/>
              </a:defRPr>
            </a:lvl7pPr>
            <a:lvl8pPr marL="1134000" indent="-162000">
              <a:spcBef>
                <a:spcPts val="600"/>
              </a:spcBef>
              <a:buSzPct val="85000"/>
              <a:tabLst/>
              <a:defRPr lang="en-US" sz="1600" baseline="0">
                <a:solidFill>
                  <a:schemeClr val="bg2"/>
                </a:solidFill>
                <a:latin typeface="+mn-lt"/>
              </a:defRPr>
            </a:lvl8pPr>
            <a:lvl9pPr>
              <a:defRPr sz="1800"/>
            </a:lvl9pPr>
          </a:lstStyle>
          <a:p>
            <a:pPr lvl="0"/>
            <a:r>
              <a:rPr lang="ko-KR" altLang="en-US" noProof="0" smtClean="0"/>
              <a:t>마스터 텍스트 스타일을 편집합니다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셋째 수준</a:t>
            </a:r>
          </a:p>
          <a:p>
            <a:pPr lvl="3"/>
            <a:r>
              <a:rPr lang="ko-KR" altLang="en-US" noProof="0" smtClean="0"/>
              <a:t>넷째 수준</a:t>
            </a:r>
          </a:p>
          <a:p>
            <a:pPr lvl="4"/>
            <a:r>
              <a:rPr lang="ko-KR" altLang="en-US" noProof="0" smtClean="0"/>
              <a:t>다섯째 수준</a:t>
            </a:r>
            <a:endParaRPr lang="en-GB" noProof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1200" y="1514475"/>
            <a:ext cx="4168800" cy="3986325"/>
          </a:xfrm>
        </p:spPr>
        <p:txBody>
          <a:bodyPr/>
          <a:lstStyle>
            <a:lvl1pPr marL="162000">
              <a:defRPr sz="1800"/>
            </a:lvl1pPr>
            <a:lvl2pPr marL="324000">
              <a:spcBef>
                <a:spcPts val="600"/>
              </a:spcBef>
              <a:defRPr sz="1600"/>
            </a:lvl2pPr>
            <a:lvl3pPr marL="486000">
              <a:spcBef>
                <a:spcPts val="600"/>
              </a:spcBef>
              <a:defRPr sz="1600"/>
            </a:lvl3pPr>
            <a:lvl4pPr marL="648000">
              <a:spcBef>
                <a:spcPts val="600"/>
              </a:spcBef>
              <a:defRPr sz="1600"/>
            </a:lvl4pPr>
            <a:lvl5pPr marL="810000" indent="-162000">
              <a:spcBef>
                <a:spcPts val="600"/>
              </a:spcBef>
              <a:defRPr sz="1600"/>
            </a:lvl5pPr>
            <a:lvl6pPr marL="972000">
              <a:defRPr sz="1600"/>
            </a:lvl6pPr>
            <a:lvl7pPr>
              <a:buFont typeface="Arial" pitchFamily="34" charset="0"/>
              <a:buChar char="•"/>
              <a:defRPr lang="en-US" sz="1600" smtClean="0">
                <a:solidFill>
                  <a:schemeClr val="bg2"/>
                </a:solidFill>
                <a:latin typeface="+mn-lt"/>
              </a:defRPr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noProof="0" smtClean="0"/>
              <a:t>마스터 텍스트 스타일을 편집합니다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셋째 수준</a:t>
            </a:r>
          </a:p>
          <a:p>
            <a:pPr lvl="3"/>
            <a:r>
              <a:rPr lang="ko-KR" altLang="en-US" noProof="0" smtClean="0"/>
              <a:t>넷째 수준</a:t>
            </a:r>
          </a:p>
          <a:p>
            <a:pPr lvl="4"/>
            <a:r>
              <a:rPr lang="ko-KR" altLang="en-US" noProof="0" smtClean="0"/>
              <a:t>다섯째 수준</a:t>
            </a:r>
            <a:endParaRPr lang="en-GB" noProof="0" smtClean="0"/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905E1A4F-5A44-4F1F-AAC3-EDEE716A988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mkFld5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cxnSp>
        <p:nvCxnSpPr>
          <p:cNvPr id="5" name="Straight Connector 10"/>
          <p:cNvCxnSpPr>
            <a:cxnSpLocks noChangeShapeType="1"/>
          </p:cNvCxnSpPr>
          <p:nvPr userDrawn="1"/>
        </p:nvCxnSpPr>
        <p:spPr bwMode="auto">
          <a:xfrm>
            <a:off x="503238" y="5921375"/>
            <a:ext cx="8137525" cy="1588"/>
          </a:xfrm>
          <a:prstGeom prst="line">
            <a:avLst/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</p:cxnSp>
      <p:sp>
        <p:nvSpPr>
          <p:cNvPr id="6" name="bmkHeader"/>
          <p:cNvSpPr txBox="1"/>
          <p:nvPr userDrawn="1"/>
        </p:nvSpPr>
        <p:spPr>
          <a:xfrm>
            <a:off x="503238" y="255588"/>
            <a:ext cx="7632700" cy="165100"/>
          </a:xfrm>
          <a:prstGeom prst="rect">
            <a:avLst/>
          </a:prstGeom>
          <a:noFill/>
        </p:spPr>
        <p:txBody>
          <a:bodyPr lIns="0" tIns="0" rIns="0" bIns="0" anchor="b"/>
          <a:lstStyle/>
          <a:p>
            <a:pPr latinLnBrk="0">
              <a:defRPr/>
            </a:pPr>
            <a:endParaRPr kumimoji="0" lang="en-GB" sz="900" dirty="0">
              <a:solidFill>
                <a:srgbClr val="25397D"/>
              </a:solidFill>
              <a:ea typeface="+mn-ea"/>
            </a:endParaRPr>
          </a:p>
        </p:txBody>
      </p:sp>
      <p:sp>
        <p:nvSpPr>
          <p:cNvPr id="8" name="bmkFld5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noProof="0" smtClean="0"/>
              <a:t>마스터 제목 스타일 편집</a:t>
            </a:r>
            <a:endParaRPr lang="en-GB" noProof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4000" y="1514475"/>
            <a:ext cx="8136000" cy="4407525"/>
          </a:xfrm>
        </p:spPr>
        <p:txBody>
          <a:bodyPr/>
          <a:lstStyle/>
          <a:p>
            <a:pPr lvl="0"/>
            <a:r>
              <a:rPr lang="ko-KR" altLang="en-US" noProof="0" dirty="0" smtClean="0"/>
              <a:t>그림을 추가하려면 아이콘을 클릭하십시오</a:t>
            </a:r>
            <a:endParaRPr lang="en-GB" noProof="0" dirty="0"/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1743F19E-A451-4AC3-A89D-544C46826EF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 space for logo or department signa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mkFld6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cxnSp>
        <p:nvCxnSpPr>
          <p:cNvPr id="4" name="Straight Connector 9"/>
          <p:cNvCxnSpPr>
            <a:cxnSpLocks noChangeShapeType="1"/>
          </p:cNvCxnSpPr>
          <p:nvPr userDrawn="1"/>
        </p:nvCxnSpPr>
        <p:spPr bwMode="auto">
          <a:xfrm>
            <a:off x="503238" y="5921375"/>
            <a:ext cx="8137525" cy="1588"/>
          </a:xfrm>
          <a:prstGeom prst="line">
            <a:avLst/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</p:cxnSp>
      <p:sp>
        <p:nvSpPr>
          <p:cNvPr id="5" name="bmkHeader"/>
          <p:cNvSpPr txBox="1"/>
          <p:nvPr userDrawn="1"/>
        </p:nvSpPr>
        <p:spPr>
          <a:xfrm>
            <a:off x="503238" y="255588"/>
            <a:ext cx="7632700" cy="165100"/>
          </a:xfrm>
          <a:prstGeom prst="rect">
            <a:avLst/>
          </a:prstGeom>
          <a:noFill/>
        </p:spPr>
        <p:txBody>
          <a:bodyPr lIns="0" tIns="0" rIns="0" bIns="0" anchor="b"/>
          <a:lstStyle/>
          <a:p>
            <a:pPr latinLnBrk="0">
              <a:defRPr/>
            </a:pPr>
            <a:endParaRPr kumimoji="0" lang="en-GB" sz="900" dirty="0">
              <a:solidFill>
                <a:srgbClr val="25397D"/>
              </a:solidFill>
              <a:ea typeface="+mn-ea"/>
            </a:endParaRPr>
          </a:p>
        </p:txBody>
      </p:sp>
      <p:sp>
        <p:nvSpPr>
          <p:cNvPr id="7" name="bmkFld6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504000" y="936000"/>
            <a:ext cx="8136000" cy="4986000"/>
          </a:xfrm>
          <a:solidFill>
            <a:schemeClr val="bg2"/>
          </a:solidFill>
        </p:spPr>
        <p:txBody>
          <a:bodyPr/>
          <a:lstStyle/>
          <a:p>
            <a:pPr lvl="0"/>
            <a:r>
              <a:rPr lang="ko-KR" altLang="en-US" noProof="0" dirty="0" smtClean="0"/>
              <a:t>그림을 추가하려면 아이콘을 클릭하십시오</a:t>
            </a:r>
            <a:endParaRPr lang="en-GB" noProof="0" dirty="0"/>
          </a:p>
        </p:txBody>
      </p:sp>
      <p:sp>
        <p:nvSpPr>
          <p:cNvPr id="8" name="Slide Number Placehold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C87DB2E3-3D2C-4C32-8DAE-DE2E102A8B56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63600" y="1727200"/>
            <a:ext cx="3630613" cy="3814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6613" y="1727200"/>
            <a:ext cx="3630612" cy="3814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en-US"/>
          </a:p>
        </p:txBody>
      </p:sp>
      <p:sp>
        <p:nvSpPr>
          <p:cNvPr id="5" name="Rectangle 4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DA110A-F37A-41B5-A160-E03245DFE5B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Rectangle 47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576E39-8C39-4717-B506-7DBC2C2F2640}" type="datetime4">
              <a:rPr lang="en-GB"/>
              <a:pPr>
                <a:defRPr/>
              </a:pPr>
              <a:t>20 March 2017</a:t>
            </a:fld>
            <a:endParaRPr lang="en-US" dirty="0"/>
          </a:p>
        </p:txBody>
      </p:sp>
      <p:sp>
        <p:nvSpPr>
          <p:cNvPr id="7" name="Rectangle 4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mkFld7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cxnSp>
        <p:nvCxnSpPr>
          <p:cNvPr id="4" name="Straight Connector 9"/>
          <p:cNvCxnSpPr>
            <a:cxnSpLocks noChangeShapeType="1"/>
          </p:cNvCxnSpPr>
          <p:nvPr userDrawn="1"/>
        </p:nvCxnSpPr>
        <p:spPr bwMode="auto">
          <a:xfrm>
            <a:off x="503238" y="5921375"/>
            <a:ext cx="8137525" cy="1588"/>
          </a:xfrm>
          <a:prstGeom prst="line">
            <a:avLst/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</p:cxnSp>
      <p:sp>
        <p:nvSpPr>
          <p:cNvPr id="5" name="bmkFld7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504000" y="504000"/>
            <a:ext cx="8136000" cy="5418000"/>
          </a:xfrm>
        </p:spPr>
        <p:txBody>
          <a:bodyPr/>
          <a:lstStyle/>
          <a:p>
            <a:pPr lvl="0"/>
            <a:r>
              <a:rPr lang="ko-KR" altLang="en-US" noProof="0" dirty="0" smtClean="0"/>
              <a:t>그림을 추가하려면 아이콘을 클릭하십시오</a:t>
            </a:r>
            <a:endParaRPr lang="en-GB" noProof="0" dirty="0"/>
          </a:p>
        </p:txBody>
      </p:sp>
      <p:sp>
        <p:nvSpPr>
          <p:cNvPr id="7" name="Slide Number Placehold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505380FE-CF41-42C0-87F5-298E99DA34A7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mkFld8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cxnSp>
        <p:nvCxnSpPr>
          <p:cNvPr id="4" name="Straight Connector 9"/>
          <p:cNvCxnSpPr>
            <a:cxnSpLocks noChangeShapeType="1"/>
          </p:cNvCxnSpPr>
          <p:nvPr userDrawn="1"/>
        </p:nvCxnSpPr>
        <p:spPr bwMode="auto">
          <a:xfrm>
            <a:off x="503238" y="5921375"/>
            <a:ext cx="8137525" cy="1588"/>
          </a:xfrm>
          <a:prstGeom prst="line">
            <a:avLst/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</p:cxnSp>
      <p:sp>
        <p:nvSpPr>
          <p:cNvPr id="5" name="bmkHeader"/>
          <p:cNvSpPr txBox="1"/>
          <p:nvPr userDrawn="1"/>
        </p:nvSpPr>
        <p:spPr>
          <a:xfrm>
            <a:off x="503238" y="255588"/>
            <a:ext cx="7632700" cy="165100"/>
          </a:xfrm>
          <a:prstGeom prst="rect">
            <a:avLst/>
          </a:prstGeom>
          <a:noFill/>
        </p:spPr>
        <p:txBody>
          <a:bodyPr lIns="0" tIns="0" rIns="0" bIns="0" anchor="b"/>
          <a:lstStyle/>
          <a:p>
            <a:pPr latinLnBrk="0">
              <a:defRPr/>
            </a:pPr>
            <a:endParaRPr kumimoji="0" lang="en-GB" sz="900" dirty="0">
              <a:solidFill>
                <a:srgbClr val="25397D"/>
              </a:solidFill>
              <a:ea typeface="+mn-ea"/>
            </a:endParaRPr>
          </a:p>
        </p:txBody>
      </p:sp>
      <p:sp>
        <p:nvSpPr>
          <p:cNvPr id="6" name="bmkFld8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noProof="0" smtClean="0"/>
              <a:t>마스터 제목 스타일 편집</a:t>
            </a:r>
            <a:endParaRPr lang="en-GB" noProof="0"/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4A0612A4-99B7-47F5-8B56-7A0E31A2EE3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mkFld9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cxnSp>
        <p:nvCxnSpPr>
          <p:cNvPr id="3" name="Straight Connector 7"/>
          <p:cNvCxnSpPr>
            <a:cxnSpLocks noChangeShapeType="1"/>
          </p:cNvCxnSpPr>
          <p:nvPr userDrawn="1"/>
        </p:nvCxnSpPr>
        <p:spPr bwMode="auto">
          <a:xfrm>
            <a:off x="503238" y="5921375"/>
            <a:ext cx="8137525" cy="1588"/>
          </a:xfrm>
          <a:prstGeom prst="line">
            <a:avLst/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</p:cxnSp>
      <p:sp>
        <p:nvSpPr>
          <p:cNvPr id="4" name="bmkHeader"/>
          <p:cNvSpPr txBox="1"/>
          <p:nvPr userDrawn="1"/>
        </p:nvSpPr>
        <p:spPr>
          <a:xfrm>
            <a:off x="503238" y="255588"/>
            <a:ext cx="7632700" cy="165100"/>
          </a:xfrm>
          <a:prstGeom prst="rect">
            <a:avLst/>
          </a:prstGeom>
          <a:noFill/>
        </p:spPr>
        <p:txBody>
          <a:bodyPr lIns="0" tIns="0" rIns="0" bIns="0" anchor="b"/>
          <a:lstStyle/>
          <a:p>
            <a:pPr latinLnBrk="0">
              <a:defRPr/>
            </a:pPr>
            <a:endParaRPr kumimoji="0" lang="en-GB" sz="900" dirty="0">
              <a:solidFill>
                <a:srgbClr val="25397D"/>
              </a:solidFill>
              <a:ea typeface="+mn-ea"/>
            </a:endParaRPr>
          </a:p>
        </p:txBody>
      </p:sp>
      <p:sp>
        <p:nvSpPr>
          <p:cNvPr id="5" name="bmkFld9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4FD3D1EB-2904-4ADF-A4F6-56A94570BC4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slide corpor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mkFld11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4" name="bmkFld10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3999" y="5036400"/>
            <a:ext cx="7632000" cy="763200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ko-KR" altLang="en-US" noProof="0" smtClean="0"/>
              <a:t>마스터 제목 스타일 편집</a:t>
            </a:r>
            <a:endParaRPr lang="en-GB" noProof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869220AD-C45E-443A-88E4-C155A27E62F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slide business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mkFld12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4" name="bmkFld11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3999" y="4845600"/>
            <a:ext cx="7632000" cy="763200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ko-KR" altLang="en-US" noProof="0" smtClean="0"/>
              <a:t>마스터 제목 스타일 편집</a:t>
            </a:r>
            <a:endParaRPr lang="en-GB" noProof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F7D096A8-4DD8-477D-B8D4-5FDDD17C721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bullets for colored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/>
          <p:nvPr userDrawn="1"/>
        </p:nvSpPr>
        <p:spPr bwMode="auto">
          <a:xfrm>
            <a:off x="0" y="0"/>
            <a:ext cx="8640763" cy="59213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/>
          <a:lstStyle/>
          <a:p>
            <a:pPr latinLnBrk="0">
              <a:defRPr/>
            </a:pPr>
            <a:endParaRPr kumimoji="0" lang="en-GB" dirty="0">
              <a:solidFill>
                <a:srgbClr val="000000"/>
              </a:solidFill>
              <a:ea typeface="+mn-ea"/>
            </a:endParaRPr>
          </a:p>
        </p:txBody>
      </p:sp>
      <p:sp>
        <p:nvSpPr>
          <p:cNvPr id="5" name="bmkFld13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6" name="bmkFld12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503999" y="1514474"/>
            <a:ext cx="7632000" cy="39143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ko-KR" altLang="en-US" noProof="0" smtClean="0"/>
              <a:t>마스터 텍스트 스타일을 편집합니다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셋째 수준</a:t>
            </a:r>
          </a:p>
          <a:p>
            <a:pPr lvl="3"/>
            <a:r>
              <a:rPr lang="ko-KR" altLang="en-US" noProof="0" smtClean="0"/>
              <a:t>넷째 수준</a:t>
            </a:r>
          </a:p>
          <a:p>
            <a:pPr lvl="4"/>
            <a:r>
              <a:rPr lang="ko-KR" altLang="en-US" noProof="0" smtClean="0"/>
              <a:t>다섯째 수준</a:t>
            </a:r>
            <a:endParaRPr lang="en-GB" noProof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503999" y="616023"/>
            <a:ext cx="7632000" cy="626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ko-KR" altLang="en-US" noProof="0" smtClean="0"/>
              <a:t>마스터 제목 스타일 편집</a:t>
            </a:r>
            <a:endParaRPr lang="en-GB" noProof="0"/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BD2B5C4B-B227-4F60-96CA-82853610BF8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for colored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/>
          <p:nvPr userDrawn="1"/>
        </p:nvSpPr>
        <p:spPr bwMode="auto">
          <a:xfrm>
            <a:off x="0" y="0"/>
            <a:ext cx="8640763" cy="59213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/>
          <a:lstStyle/>
          <a:p>
            <a:pPr latinLnBrk="0">
              <a:defRPr/>
            </a:pPr>
            <a:endParaRPr kumimoji="0" lang="en-GB" dirty="0">
              <a:solidFill>
                <a:srgbClr val="000000"/>
              </a:solidFill>
              <a:ea typeface="+mn-ea"/>
            </a:endParaRPr>
          </a:p>
        </p:txBody>
      </p:sp>
      <p:sp>
        <p:nvSpPr>
          <p:cNvPr id="5" name="bmkFld14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6" name="bmkFld13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503999" y="1514474"/>
            <a:ext cx="7632000" cy="3914325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ko-KR" altLang="en-US" noProof="0" smtClean="0"/>
              <a:t>마스터 텍스트 스타일을 편집합니다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셋째 수준</a:t>
            </a:r>
          </a:p>
          <a:p>
            <a:pPr lvl="3"/>
            <a:r>
              <a:rPr lang="ko-KR" altLang="en-US" noProof="0" smtClean="0"/>
              <a:t>넷째 수준</a:t>
            </a:r>
          </a:p>
          <a:p>
            <a:pPr lvl="4"/>
            <a:r>
              <a:rPr lang="ko-KR" altLang="en-US" noProof="0" smtClean="0"/>
              <a:t>다섯째 수준</a:t>
            </a:r>
            <a:endParaRPr lang="en-GB" noProof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503999" y="616023"/>
            <a:ext cx="7632000" cy="626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ko-KR" altLang="en-US" noProof="0" smtClean="0"/>
              <a:t>마스터 제목 스타일 편집</a:t>
            </a:r>
            <a:endParaRPr lang="en-GB" noProof="0"/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B88F30F1-D6A1-4D62-A1A0-86453FD8B49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ion-Health-Histo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mkFld15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3" name="bmkFld14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C460E0A5-98F1-4241-B97E-00823E5F89B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itle two conten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12"/>
          <p:cNvCxnSpPr>
            <a:cxnSpLocks noChangeShapeType="1"/>
          </p:cNvCxnSpPr>
          <p:nvPr userDrawn="1"/>
        </p:nvCxnSpPr>
        <p:spPr bwMode="auto">
          <a:xfrm>
            <a:off x="503238" y="5921375"/>
            <a:ext cx="8137525" cy="1588"/>
          </a:xfrm>
          <a:prstGeom prst="line">
            <a:avLst/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</p:cxnSp>
      <p:sp>
        <p:nvSpPr>
          <p:cNvPr id="8" name="bmkFld16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9" name="bmkHeader"/>
          <p:cNvSpPr txBox="1"/>
          <p:nvPr userDrawn="1"/>
        </p:nvSpPr>
        <p:spPr>
          <a:xfrm>
            <a:off x="503238" y="255588"/>
            <a:ext cx="7632700" cy="165100"/>
          </a:xfrm>
          <a:prstGeom prst="rect">
            <a:avLst/>
          </a:prstGeom>
          <a:noFill/>
        </p:spPr>
        <p:txBody>
          <a:bodyPr lIns="0" tIns="0" rIns="0" bIns="0" anchor="b"/>
          <a:lstStyle/>
          <a:p>
            <a:pPr latinLnBrk="0">
              <a:defRPr/>
            </a:pPr>
            <a:endParaRPr kumimoji="0" lang="en-GB" sz="900" dirty="0">
              <a:solidFill>
                <a:srgbClr val="25397D"/>
              </a:solidFill>
              <a:ea typeface="+mn-ea"/>
            </a:endParaRPr>
          </a:p>
        </p:txBody>
      </p:sp>
      <p:sp>
        <p:nvSpPr>
          <p:cNvPr id="10" name="bmkFld15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 noProof="0" smtClean="0"/>
              <a:t>마스터 제목 스타일 편집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4000" y="1535113"/>
            <a:ext cx="3826800" cy="536565"/>
          </a:xfrm>
        </p:spPr>
        <p:txBody>
          <a:bodyPr anchor="b"/>
          <a:lstStyle>
            <a:lvl1pPr marL="0" indent="0">
              <a:lnSpc>
                <a:spcPts val="2300"/>
              </a:lnSpc>
              <a:spcBef>
                <a:spcPts val="0"/>
              </a:spcBef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noProof="0" smtClean="0"/>
              <a:t>마스터 텍스트 스타일을 편집합니다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999" y="2174875"/>
            <a:ext cx="3826800" cy="333098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noProof="0" smtClean="0"/>
              <a:t>마스터 텍스트 스타일을 편집합니다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셋째 수준</a:t>
            </a:r>
          </a:p>
          <a:p>
            <a:pPr lvl="3"/>
            <a:r>
              <a:rPr lang="ko-KR" altLang="en-US" noProof="0" smtClean="0"/>
              <a:t>넷째 수준</a:t>
            </a:r>
          </a:p>
          <a:p>
            <a:pPr lvl="4"/>
            <a:r>
              <a:rPr lang="ko-KR" altLang="en-US" noProof="0" smtClean="0"/>
              <a:t>다섯째 수준</a:t>
            </a:r>
            <a:endParaRPr lang="en-GB" noProof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95200" y="1535113"/>
            <a:ext cx="3826800" cy="536400"/>
          </a:xfrm>
        </p:spPr>
        <p:txBody>
          <a:bodyPr anchor="b"/>
          <a:lstStyle>
            <a:lvl1pPr marL="0" indent="0">
              <a:lnSpc>
                <a:spcPts val="2300"/>
              </a:lnSpc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noProof="0" smtClean="0"/>
              <a:t>마스터 텍스트 스타일을 편집합니다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95200" y="2174875"/>
            <a:ext cx="3826800" cy="33300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noProof="0" smtClean="0"/>
              <a:t>마스터 텍스트 스타일을 편집합니다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셋째 수준</a:t>
            </a:r>
          </a:p>
          <a:p>
            <a:pPr lvl="3"/>
            <a:r>
              <a:rPr lang="ko-KR" altLang="en-US" noProof="0" smtClean="0"/>
              <a:t>넷째 수준</a:t>
            </a:r>
          </a:p>
          <a:p>
            <a:pPr lvl="4"/>
            <a:r>
              <a:rPr lang="ko-KR" altLang="en-US" noProof="0" smtClean="0"/>
              <a:t>다섯째 수준</a:t>
            </a:r>
            <a:endParaRPr lang="en-GB" noProof="0"/>
          </a:p>
        </p:txBody>
      </p:sp>
      <p:sp>
        <p:nvSpPr>
          <p:cNvPr id="11" name="Slide Number Placeholder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6B7E922A-55D9-41AD-BA9C-87893561DF0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rpor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mkFPPicture" descr="Coloplast_Nature_Abstracts_02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8640763" cy="5919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3"/>
          <p:cNvSpPr/>
          <p:nvPr userDrawn="1"/>
        </p:nvSpPr>
        <p:spPr bwMode="auto">
          <a:xfrm>
            <a:off x="0" y="4381500"/>
            <a:ext cx="8640763" cy="1539875"/>
          </a:xfrm>
          <a:prstGeom prst="rect">
            <a:avLst/>
          </a:prstGeom>
          <a:solidFill>
            <a:srgbClr val="00B0CA">
              <a:alpha val="8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/>
          <a:lstStyle/>
          <a:p>
            <a:pPr latinLnBrk="0">
              <a:defRPr/>
            </a:pPr>
            <a:endParaRPr kumimoji="0" lang="en-GB" dirty="0">
              <a:solidFill>
                <a:srgbClr val="000000"/>
              </a:solidFill>
              <a:ea typeface="+mn-ea"/>
            </a:endParaRPr>
          </a:p>
        </p:txBody>
      </p:sp>
      <p:sp>
        <p:nvSpPr>
          <p:cNvPr id="6" name="bmkFldName"/>
          <p:cNvSpPr txBox="1"/>
          <p:nvPr userDrawn="1"/>
        </p:nvSpPr>
        <p:spPr>
          <a:xfrm>
            <a:off x="503238" y="5489575"/>
            <a:ext cx="7632700" cy="24606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1600" dirty="0">
              <a:solidFill>
                <a:srgbClr val="FFFFFF"/>
              </a:solidFill>
              <a:ea typeface="+mn-ea"/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03238" y="6173788"/>
            <a:ext cx="124618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bmkFld10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9" name="bmkHeader"/>
          <p:cNvSpPr txBox="1"/>
          <p:nvPr userDrawn="1"/>
        </p:nvSpPr>
        <p:spPr>
          <a:xfrm>
            <a:off x="503238" y="255588"/>
            <a:ext cx="7632700" cy="165100"/>
          </a:xfrm>
          <a:prstGeom prst="rect">
            <a:avLst/>
          </a:prstGeom>
          <a:noFill/>
        </p:spPr>
        <p:txBody>
          <a:bodyPr lIns="0" tIns="0" rIns="0" bIns="0" anchor="b"/>
          <a:lstStyle/>
          <a:p>
            <a:pPr latinLnBrk="0">
              <a:defRPr/>
            </a:pPr>
            <a:endParaRPr kumimoji="0" lang="en-GB" sz="900" dirty="0">
              <a:solidFill>
                <a:srgbClr val="25397D"/>
              </a:solidFill>
              <a:ea typeface="+mn-ea"/>
            </a:endParaRPr>
          </a:p>
        </p:txBody>
      </p:sp>
      <p:sp>
        <p:nvSpPr>
          <p:cNvPr id="10" name="bmkFld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pic>
        <p:nvPicPr>
          <p:cNvPr id="11" name="Picture 18" descr="6CPlogo_Blue_RGB_PP_41.png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167563" y="6167438"/>
            <a:ext cx="1476375" cy="331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8" name="Title 4097"/>
          <p:cNvSpPr>
            <a:spLocks noGrp="1" noChangeArrowheads="1"/>
          </p:cNvSpPr>
          <p:nvPr>
            <p:ph type="ctrTitle"/>
          </p:nvPr>
        </p:nvSpPr>
        <p:spPr>
          <a:xfrm>
            <a:off x="504000" y="4561200"/>
            <a:ext cx="7632000" cy="360000"/>
          </a:xfrm>
        </p:spPr>
        <p:txBody>
          <a:bodyPr/>
          <a:lstStyle>
            <a:lvl1pPr>
              <a:lnSpc>
                <a:spcPts val="29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altLang="ko-KR" noProof="0" smtClean="0"/>
              <a:t>Click to edit Master title style</a:t>
            </a:r>
            <a:endParaRPr lang="en-GB" noProof="0"/>
          </a:p>
        </p:txBody>
      </p:sp>
      <p:sp>
        <p:nvSpPr>
          <p:cNvPr id="4099" name="Subtitle 4098"/>
          <p:cNvSpPr>
            <a:spLocks noGrp="1" noChangeArrowheads="1"/>
          </p:cNvSpPr>
          <p:nvPr>
            <p:ph type="subTitle" idx="1"/>
          </p:nvPr>
        </p:nvSpPr>
        <p:spPr>
          <a:xfrm>
            <a:off x="504000" y="4939200"/>
            <a:ext cx="7632000" cy="360000"/>
          </a:xfrm>
        </p:spPr>
        <p:txBody>
          <a:bodyPr/>
          <a:lstStyle>
            <a:lvl1pPr marL="0" indent="0">
              <a:lnSpc>
                <a:spcPts val="1900"/>
              </a:lnSpc>
              <a:spcBef>
                <a:spcPct val="0"/>
              </a:spcBef>
              <a:buFontTx/>
              <a:buNone/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en-US" altLang="ko-KR" noProof="0" smtClean="0"/>
              <a:t>Click to edit Master subtitle style</a:t>
            </a:r>
            <a:endParaRPr lang="en-GB" noProof="0"/>
          </a:p>
        </p:txBody>
      </p:sp>
      <p:sp>
        <p:nvSpPr>
          <p:cNvPr id="12" name="Rectangle 3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2303463" y="6397625"/>
            <a:ext cx="1152525" cy="1016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12F34117-98A8-4050-89F0-7C58BD5EE7A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en-US"/>
          </a:p>
        </p:txBody>
      </p:sp>
      <p:sp>
        <p:nvSpPr>
          <p:cNvPr id="3" name="Rectangle 4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BC09D1-DD45-4C79-B261-88134C6345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Rectangle 47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AA6516-C5F0-4BEF-9F72-2772A6D84894}" type="datetime4">
              <a:rPr lang="en-GB"/>
              <a:pPr>
                <a:defRPr/>
              </a:pPr>
              <a:t>20 March 2017</a:t>
            </a:fld>
            <a:endParaRPr lang="en-US" dirty="0"/>
          </a:p>
        </p:txBody>
      </p:sp>
      <p:sp>
        <p:nvSpPr>
          <p:cNvPr id="5" name="Rectangle 4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>
            <a:cxnSpLocks noChangeShapeType="1"/>
          </p:cNvCxnSpPr>
          <p:nvPr userDrawn="1"/>
        </p:nvCxnSpPr>
        <p:spPr bwMode="auto">
          <a:xfrm>
            <a:off x="503238" y="5921375"/>
            <a:ext cx="8137525" cy="1588"/>
          </a:xfrm>
          <a:prstGeom prst="line">
            <a:avLst/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</p:cxnSp>
      <p:sp>
        <p:nvSpPr>
          <p:cNvPr id="5" name="bmkFld2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6" name="bmkHeader"/>
          <p:cNvSpPr txBox="1"/>
          <p:nvPr userDrawn="1"/>
        </p:nvSpPr>
        <p:spPr>
          <a:xfrm>
            <a:off x="503238" y="255588"/>
            <a:ext cx="7632700" cy="165100"/>
          </a:xfrm>
          <a:prstGeom prst="rect">
            <a:avLst/>
          </a:prstGeom>
          <a:noFill/>
        </p:spPr>
        <p:txBody>
          <a:bodyPr lIns="0" tIns="0" rIns="0" bIns="0" anchor="b"/>
          <a:lstStyle/>
          <a:p>
            <a:pPr latinLnBrk="0">
              <a:defRPr/>
            </a:pPr>
            <a:endParaRPr kumimoji="0" lang="en-GB" sz="900" dirty="0">
              <a:solidFill>
                <a:srgbClr val="25397D"/>
              </a:solidFill>
              <a:ea typeface="+mn-ea"/>
            </a:endParaRPr>
          </a:p>
        </p:txBody>
      </p:sp>
      <p:sp>
        <p:nvSpPr>
          <p:cNvPr id="7" name="bmkFld2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noProof="0" smtClean="0"/>
              <a:t>마스터 제목 스타일 편집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  <a:lvl6pPr>
              <a:defRPr baseline="0"/>
            </a:lvl6pPr>
            <a:lvl7pPr>
              <a:buFont typeface="Arial" pitchFamily="34" charset="0"/>
              <a:buChar char="•"/>
              <a:defRPr baseline="0"/>
            </a:lvl7pPr>
          </a:lstStyle>
          <a:p>
            <a:pPr lvl="0"/>
            <a:r>
              <a:rPr lang="ko-KR" altLang="en-US" noProof="0" smtClean="0"/>
              <a:t>마스터 텍스트 스타일을 편집합니다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셋째 수준</a:t>
            </a:r>
          </a:p>
          <a:p>
            <a:pPr lvl="3"/>
            <a:r>
              <a:rPr lang="ko-KR" altLang="en-US" noProof="0" smtClean="0"/>
              <a:t>넷째 수준</a:t>
            </a:r>
          </a:p>
          <a:p>
            <a:pPr lvl="4"/>
            <a:r>
              <a:rPr lang="ko-KR" altLang="en-US" noProof="0" smtClean="0"/>
              <a:t>다섯째 수준</a:t>
            </a:r>
            <a:endParaRPr lang="en-GB" noProof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75B17625-24B2-4558-9461-6FCF9695681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mkFld3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cxnSp>
        <p:nvCxnSpPr>
          <p:cNvPr id="5" name="Straight Connector 10"/>
          <p:cNvCxnSpPr>
            <a:cxnSpLocks noChangeShapeType="1"/>
          </p:cNvCxnSpPr>
          <p:nvPr userDrawn="1"/>
        </p:nvCxnSpPr>
        <p:spPr bwMode="auto">
          <a:xfrm>
            <a:off x="503238" y="5921375"/>
            <a:ext cx="8137525" cy="1588"/>
          </a:xfrm>
          <a:prstGeom prst="line">
            <a:avLst/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</p:cxnSp>
      <p:sp>
        <p:nvSpPr>
          <p:cNvPr id="6" name="bmkHeader"/>
          <p:cNvSpPr txBox="1"/>
          <p:nvPr userDrawn="1"/>
        </p:nvSpPr>
        <p:spPr>
          <a:xfrm>
            <a:off x="503238" y="255588"/>
            <a:ext cx="7632700" cy="165100"/>
          </a:xfrm>
          <a:prstGeom prst="rect">
            <a:avLst/>
          </a:prstGeom>
          <a:noFill/>
        </p:spPr>
        <p:txBody>
          <a:bodyPr lIns="0" tIns="0" rIns="0" bIns="0" anchor="b"/>
          <a:lstStyle/>
          <a:p>
            <a:pPr latinLnBrk="0">
              <a:defRPr/>
            </a:pPr>
            <a:endParaRPr kumimoji="0" lang="en-GB" sz="900" dirty="0">
              <a:solidFill>
                <a:srgbClr val="25397D"/>
              </a:solidFill>
              <a:ea typeface="+mn-ea"/>
            </a:endParaRPr>
          </a:p>
        </p:txBody>
      </p:sp>
      <p:sp>
        <p:nvSpPr>
          <p:cNvPr id="7" name="bmkFld3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noProof="0" smtClean="0"/>
              <a:t>마스터 제목 스타일 편집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lnSpc>
                <a:spcPts val="2160"/>
              </a:lnSpc>
              <a:spcBef>
                <a:spcPts val="0"/>
              </a:spcBef>
              <a:buNone/>
              <a:tabLst/>
              <a:defRPr sz="1800" baseline="0"/>
            </a:lvl1pPr>
            <a:lvl2pPr marL="0" indent="0">
              <a:lnSpc>
                <a:spcPts val="1920"/>
              </a:lnSpc>
              <a:spcBef>
                <a:spcPts val="0"/>
              </a:spcBef>
              <a:buNone/>
              <a:defRPr sz="1600" baseline="0"/>
            </a:lvl2pPr>
            <a:lvl3pPr marL="0" indent="0">
              <a:lnSpc>
                <a:spcPts val="1920"/>
              </a:lnSpc>
              <a:spcBef>
                <a:spcPts val="0"/>
              </a:spcBef>
              <a:buNone/>
              <a:tabLst/>
              <a:defRPr sz="1600" baseline="0"/>
            </a:lvl3pPr>
            <a:lvl4pPr marL="0" indent="0">
              <a:lnSpc>
                <a:spcPts val="1920"/>
              </a:lnSpc>
              <a:spcBef>
                <a:spcPts val="0"/>
              </a:spcBef>
              <a:buNone/>
              <a:defRPr sz="1600" baseline="0"/>
            </a:lvl4pPr>
            <a:lvl5pPr marL="0" indent="0">
              <a:lnSpc>
                <a:spcPts val="1920"/>
              </a:lnSpc>
              <a:spcBef>
                <a:spcPts val="0"/>
              </a:spcBef>
              <a:buNone/>
              <a:defRPr sz="1600" baseline="0"/>
            </a:lvl5pPr>
          </a:lstStyle>
          <a:p>
            <a:pPr lvl="0"/>
            <a:r>
              <a:rPr lang="ko-KR" altLang="en-US" noProof="0" smtClean="0"/>
              <a:t>마스터 텍스트 스타일을 편집합니다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DB833DD7-2B97-4563-9CFB-32F776CD803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mkFld4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cxnSp>
        <p:nvCxnSpPr>
          <p:cNvPr id="6" name="Straight Connector 11"/>
          <p:cNvCxnSpPr>
            <a:cxnSpLocks noChangeShapeType="1"/>
          </p:cNvCxnSpPr>
          <p:nvPr userDrawn="1"/>
        </p:nvCxnSpPr>
        <p:spPr bwMode="auto">
          <a:xfrm>
            <a:off x="503238" y="5921375"/>
            <a:ext cx="8137525" cy="1588"/>
          </a:xfrm>
          <a:prstGeom prst="line">
            <a:avLst/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</p:cxnSp>
      <p:sp>
        <p:nvSpPr>
          <p:cNvPr id="7" name="bmkHeader"/>
          <p:cNvSpPr txBox="1"/>
          <p:nvPr userDrawn="1"/>
        </p:nvSpPr>
        <p:spPr>
          <a:xfrm>
            <a:off x="503238" y="255588"/>
            <a:ext cx="7632700" cy="165100"/>
          </a:xfrm>
          <a:prstGeom prst="rect">
            <a:avLst/>
          </a:prstGeom>
          <a:noFill/>
        </p:spPr>
        <p:txBody>
          <a:bodyPr lIns="0" tIns="0" rIns="0" bIns="0" anchor="b"/>
          <a:lstStyle/>
          <a:p>
            <a:pPr latinLnBrk="0">
              <a:defRPr/>
            </a:pPr>
            <a:endParaRPr kumimoji="0" lang="en-GB" sz="900" dirty="0">
              <a:solidFill>
                <a:srgbClr val="25397D"/>
              </a:solidFill>
              <a:ea typeface="+mn-ea"/>
            </a:endParaRPr>
          </a:p>
        </p:txBody>
      </p:sp>
      <p:sp>
        <p:nvSpPr>
          <p:cNvPr id="8" name="bmkFld4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noProof="0" smtClean="0"/>
              <a:t>마스터 제목 스타일 편집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3999" y="1514475"/>
            <a:ext cx="3463200" cy="3986325"/>
          </a:xfrm>
        </p:spPr>
        <p:txBody>
          <a:bodyPr/>
          <a:lstStyle>
            <a:lvl1pPr marL="162000" indent="-162000">
              <a:tabLst/>
              <a:defRPr sz="1800"/>
            </a:lvl1pPr>
            <a:lvl2pPr marL="324000">
              <a:spcBef>
                <a:spcPts val="600"/>
              </a:spcBef>
              <a:tabLst/>
              <a:defRPr sz="1600"/>
            </a:lvl2pPr>
            <a:lvl3pPr marL="486000" indent="-162000">
              <a:spcBef>
                <a:spcPts val="600"/>
              </a:spcBef>
              <a:tabLst/>
              <a:defRPr sz="1600"/>
            </a:lvl3pPr>
            <a:lvl4pPr marL="648000">
              <a:spcBef>
                <a:spcPts val="600"/>
              </a:spcBef>
              <a:tabLst/>
              <a:defRPr sz="1600"/>
            </a:lvl4pPr>
            <a:lvl5pPr marL="810000" indent="-162000">
              <a:spcBef>
                <a:spcPts val="600"/>
              </a:spcBef>
              <a:tabLst/>
              <a:defRPr sz="1600" baseline="0"/>
            </a:lvl5pPr>
            <a:lvl6pPr marL="162000">
              <a:defRPr sz="1600"/>
            </a:lvl6pPr>
            <a:lvl7pPr marL="972000" indent="-162000">
              <a:spcBef>
                <a:spcPts val="600"/>
              </a:spcBef>
              <a:buSzPct val="85000"/>
              <a:tabLst/>
              <a:defRPr lang="en-US" sz="1600" baseline="0">
                <a:solidFill>
                  <a:schemeClr val="bg2"/>
                </a:solidFill>
                <a:latin typeface="+mn-lt"/>
              </a:defRPr>
            </a:lvl7pPr>
            <a:lvl8pPr marL="1134000" indent="-162000">
              <a:spcBef>
                <a:spcPts val="600"/>
              </a:spcBef>
              <a:buSzPct val="85000"/>
              <a:tabLst/>
              <a:defRPr lang="en-US" sz="1600" baseline="0">
                <a:solidFill>
                  <a:schemeClr val="bg2"/>
                </a:solidFill>
                <a:latin typeface="+mn-lt"/>
              </a:defRPr>
            </a:lvl8pPr>
            <a:lvl9pPr>
              <a:defRPr sz="1800"/>
            </a:lvl9pPr>
          </a:lstStyle>
          <a:p>
            <a:pPr lvl="0"/>
            <a:r>
              <a:rPr lang="ko-KR" altLang="en-US" noProof="0" smtClean="0"/>
              <a:t>마스터 텍스트 스타일을 편집합니다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셋째 수준</a:t>
            </a:r>
          </a:p>
          <a:p>
            <a:pPr lvl="3"/>
            <a:r>
              <a:rPr lang="ko-KR" altLang="en-US" noProof="0" smtClean="0"/>
              <a:t>넷째 수준</a:t>
            </a:r>
          </a:p>
          <a:p>
            <a:pPr lvl="4"/>
            <a:r>
              <a:rPr lang="ko-KR" altLang="en-US" noProof="0" smtClean="0"/>
              <a:t>다섯째 수준</a:t>
            </a:r>
            <a:endParaRPr lang="en-GB" noProof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1200" y="1514475"/>
            <a:ext cx="4168800" cy="3986325"/>
          </a:xfrm>
        </p:spPr>
        <p:txBody>
          <a:bodyPr/>
          <a:lstStyle>
            <a:lvl1pPr marL="162000">
              <a:defRPr sz="1800"/>
            </a:lvl1pPr>
            <a:lvl2pPr marL="324000">
              <a:spcBef>
                <a:spcPts val="600"/>
              </a:spcBef>
              <a:defRPr sz="1600"/>
            </a:lvl2pPr>
            <a:lvl3pPr marL="486000">
              <a:spcBef>
                <a:spcPts val="600"/>
              </a:spcBef>
              <a:defRPr sz="1600"/>
            </a:lvl3pPr>
            <a:lvl4pPr marL="648000">
              <a:spcBef>
                <a:spcPts val="600"/>
              </a:spcBef>
              <a:defRPr sz="1600"/>
            </a:lvl4pPr>
            <a:lvl5pPr marL="810000" indent="-162000">
              <a:spcBef>
                <a:spcPts val="600"/>
              </a:spcBef>
              <a:defRPr sz="1600"/>
            </a:lvl5pPr>
            <a:lvl6pPr marL="972000">
              <a:defRPr sz="1600"/>
            </a:lvl6pPr>
            <a:lvl7pPr>
              <a:buFont typeface="Arial" pitchFamily="34" charset="0"/>
              <a:buChar char="•"/>
              <a:defRPr lang="en-US" sz="1600" smtClean="0">
                <a:solidFill>
                  <a:schemeClr val="bg2"/>
                </a:solidFill>
                <a:latin typeface="+mn-lt"/>
              </a:defRPr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noProof="0" smtClean="0"/>
              <a:t>마스터 텍스트 스타일을 편집합니다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셋째 수준</a:t>
            </a:r>
          </a:p>
          <a:p>
            <a:pPr lvl="3"/>
            <a:r>
              <a:rPr lang="ko-KR" altLang="en-US" noProof="0" smtClean="0"/>
              <a:t>넷째 수준</a:t>
            </a:r>
          </a:p>
          <a:p>
            <a:pPr lvl="4"/>
            <a:r>
              <a:rPr lang="ko-KR" altLang="en-US" noProof="0" smtClean="0"/>
              <a:t>다섯째 수준</a:t>
            </a:r>
            <a:endParaRPr lang="en-GB" noProof="0" smtClean="0"/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707B5460-1CD3-4FD0-8A44-27A14B0D33A5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mkFld5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cxnSp>
        <p:nvCxnSpPr>
          <p:cNvPr id="5" name="Straight Connector 10"/>
          <p:cNvCxnSpPr>
            <a:cxnSpLocks noChangeShapeType="1"/>
          </p:cNvCxnSpPr>
          <p:nvPr userDrawn="1"/>
        </p:nvCxnSpPr>
        <p:spPr bwMode="auto">
          <a:xfrm>
            <a:off x="503238" y="5921375"/>
            <a:ext cx="8137525" cy="1588"/>
          </a:xfrm>
          <a:prstGeom prst="line">
            <a:avLst/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</p:cxnSp>
      <p:sp>
        <p:nvSpPr>
          <p:cNvPr id="6" name="bmkHeader"/>
          <p:cNvSpPr txBox="1"/>
          <p:nvPr userDrawn="1"/>
        </p:nvSpPr>
        <p:spPr>
          <a:xfrm>
            <a:off x="503238" y="255588"/>
            <a:ext cx="7632700" cy="165100"/>
          </a:xfrm>
          <a:prstGeom prst="rect">
            <a:avLst/>
          </a:prstGeom>
          <a:noFill/>
        </p:spPr>
        <p:txBody>
          <a:bodyPr lIns="0" tIns="0" rIns="0" bIns="0" anchor="b"/>
          <a:lstStyle/>
          <a:p>
            <a:pPr latinLnBrk="0">
              <a:defRPr/>
            </a:pPr>
            <a:endParaRPr kumimoji="0" lang="en-GB" sz="900" dirty="0">
              <a:solidFill>
                <a:srgbClr val="25397D"/>
              </a:solidFill>
              <a:ea typeface="+mn-ea"/>
            </a:endParaRPr>
          </a:p>
        </p:txBody>
      </p:sp>
      <p:sp>
        <p:nvSpPr>
          <p:cNvPr id="8" name="bmkFld5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noProof="0" smtClean="0"/>
              <a:t>마스터 제목 스타일 편집</a:t>
            </a:r>
            <a:endParaRPr lang="en-GB" noProof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4000" y="1514475"/>
            <a:ext cx="8136000" cy="4407525"/>
          </a:xfrm>
        </p:spPr>
        <p:txBody>
          <a:bodyPr/>
          <a:lstStyle/>
          <a:p>
            <a:pPr lvl="0"/>
            <a:r>
              <a:rPr lang="ko-KR" altLang="en-US" noProof="0" dirty="0" smtClean="0"/>
              <a:t>그림을 추가하려면 아이콘을 클릭하십시오</a:t>
            </a:r>
            <a:endParaRPr lang="en-GB" noProof="0" dirty="0"/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B0A5BDD8-CB87-4E19-AADE-F931E5E5621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 space for logo or department signa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mkFld6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cxnSp>
        <p:nvCxnSpPr>
          <p:cNvPr id="4" name="Straight Connector 9"/>
          <p:cNvCxnSpPr>
            <a:cxnSpLocks noChangeShapeType="1"/>
          </p:cNvCxnSpPr>
          <p:nvPr userDrawn="1"/>
        </p:nvCxnSpPr>
        <p:spPr bwMode="auto">
          <a:xfrm>
            <a:off x="503238" y="5921375"/>
            <a:ext cx="8137525" cy="1588"/>
          </a:xfrm>
          <a:prstGeom prst="line">
            <a:avLst/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</p:cxnSp>
      <p:sp>
        <p:nvSpPr>
          <p:cNvPr id="5" name="bmkHeader"/>
          <p:cNvSpPr txBox="1"/>
          <p:nvPr userDrawn="1"/>
        </p:nvSpPr>
        <p:spPr>
          <a:xfrm>
            <a:off x="503238" y="255588"/>
            <a:ext cx="7632700" cy="165100"/>
          </a:xfrm>
          <a:prstGeom prst="rect">
            <a:avLst/>
          </a:prstGeom>
          <a:noFill/>
        </p:spPr>
        <p:txBody>
          <a:bodyPr lIns="0" tIns="0" rIns="0" bIns="0" anchor="b"/>
          <a:lstStyle/>
          <a:p>
            <a:pPr latinLnBrk="0">
              <a:defRPr/>
            </a:pPr>
            <a:endParaRPr kumimoji="0" lang="en-GB" sz="900" dirty="0">
              <a:solidFill>
                <a:srgbClr val="25397D"/>
              </a:solidFill>
              <a:ea typeface="+mn-ea"/>
            </a:endParaRPr>
          </a:p>
        </p:txBody>
      </p:sp>
      <p:sp>
        <p:nvSpPr>
          <p:cNvPr id="7" name="bmkFld6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504000" y="936000"/>
            <a:ext cx="8136000" cy="4986000"/>
          </a:xfrm>
          <a:solidFill>
            <a:schemeClr val="bg2"/>
          </a:solidFill>
        </p:spPr>
        <p:txBody>
          <a:bodyPr/>
          <a:lstStyle/>
          <a:p>
            <a:pPr lvl="0"/>
            <a:r>
              <a:rPr lang="ko-KR" altLang="en-US" noProof="0" dirty="0" smtClean="0"/>
              <a:t>그림을 추가하려면 아이콘을 클릭하십시오</a:t>
            </a:r>
            <a:endParaRPr lang="en-GB" noProof="0" dirty="0"/>
          </a:p>
        </p:txBody>
      </p:sp>
      <p:sp>
        <p:nvSpPr>
          <p:cNvPr id="8" name="Slide Number Placehold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B847F158-2120-4D33-9FEE-16D7BBBD2F2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mkFld7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cxnSp>
        <p:nvCxnSpPr>
          <p:cNvPr id="4" name="Straight Connector 9"/>
          <p:cNvCxnSpPr>
            <a:cxnSpLocks noChangeShapeType="1"/>
          </p:cNvCxnSpPr>
          <p:nvPr userDrawn="1"/>
        </p:nvCxnSpPr>
        <p:spPr bwMode="auto">
          <a:xfrm>
            <a:off x="503238" y="5921375"/>
            <a:ext cx="8137525" cy="1588"/>
          </a:xfrm>
          <a:prstGeom prst="line">
            <a:avLst/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</p:cxnSp>
      <p:sp>
        <p:nvSpPr>
          <p:cNvPr id="5" name="bmkFld7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504000" y="504000"/>
            <a:ext cx="8136000" cy="5418000"/>
          </a:xfrm>
        </p:spPr>
        <p:txBody>
          <a:bodyPr/>
          <a:lstStyle/>
          <a:p>
            <a:pPr lvl="0"/>
            <a:r>
              <a:rPr lang="ko-KR" altLang="en-US" noProof="0" dirty="0" smtClean="0"/>
              <a:t>그림을 추가하려면 아이콘을 클릭하십시오</a:t>
            </a:r>
            <a:endParaRPr lang="en-GB" noProof="0" dirty="0"/>
          </a:p>
        </p:txBody>
      </p:sp>
      <p:sp>
        <p:nvSpPr>
          <p:cNvPr id="7" name="Slide Number Placehold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0779E8F1-B995-4E17-9241-07A90634CDC0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mkFld8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cxnSp>
        <p:nvCxnSpPr>
          <p:cNvPr id="4" name="Straight Connector 9"/>
          <p:cNvCxnSpPr>
            <a:cxnSpLocks noChangeShapeType="1"/>
          </p:cNvCxnSpPr>
          <p:nvPr userDrawn="1"/>
        </p:nvCxnSpPr>
        <p:spPr bwMode="auto">
          <a:xfrm>
            <a:off x="503238" y="5921375"/>
            <a:ext cx="8137525" cy="1588"/>
          </a:xfrm>
          <a:prstGeom prst="line">
            <a:avLst/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</p:cxnSp>
      <p:sp>
        <p:nvSpPr>
          <p:cNvPr id="5" name="bmkHeader"/>
          <p:cNvSpPr txBox="1"/>
          <p:nvPr userDrawn="1"/>
        </p:nvSpPr>
        <p:spPr>
          <a:xfrm>
            <a:off x="503238" y="255588"/>
            <a:ext cx="7632700" cy="165100"/>
          </a:xfrm>
          <a:prstGeom prst="rect">
            <a:avLst/>
          </a:prstGeom>
          <a:noFill/>
        </p:spPr>
        <p:txBody>
          <a:bodyPr lIns="0" tIns="0" rIns="0" bIns="0" anchor="b"/>
          <a:lstStyle/>
          <a:p>
            <a:pPr latinLnBrk="0">
              <a:defRPr/>
            </a:pPr>
            <a:endParaRPr kumimoji="0" lang="en-GB" sz="900" dirty="0">
              <a:solidFill>
                <a:srgbClr val="25397D"/>
              </a:solidFill>
              <a:ea typeface="+mn-ea"/>
            </a:endParaRPr>
          </a:p>
        </p:txBody>
      </p:sp>
      <p:sp>
        <p:nvSpPr>
          <p:cNvPr id="6" name="bmkFld8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noProof="0" smtClean="0"/>
              <a:t>마스터 제목 스타일 편집</a:t>
            </a:r>
            <a:endParaRPr lang="en-GB" noProof="0"/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A1D0D94E-8B95-4CE2-B5BF-EFD2460D7E66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mkFld9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cxnSp>
        <p:nvCxnSpPr>
          <p:cNvPr id="3" name="Straight Connector 7"/>
          <p:cNvCxnSpPr>
            <a:cxnSpLocks noChangeShapeType="1"/>
          </p:cNvCxnSpPr>
          <p:nvPr userDrawn="1"/>
        </p:nvCxnSpPr>
        <p:spPr bwMode="auto">
          <a:xfrm>
            <a:off x="503238" y="5921375"/>
            <a:ext cx="8137525" cy="1588"/>
          </a:xfrm>
          <a:prstGeom prst="line">
            <a:avLst/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</p:cxnSp>
      <p:sp>
        <p:nvSpPr>
          <p:cNvPr id="4" name="bmkHeader"/>
          <p:cNvSpPr txBox="1"/>
          <p:nvPr userDrawn="1"/>
        </p:nvSpPr>
        <p:spPr>
          <a:xfrm>
            <a:off x="503238" y="255588"/>
            <a:ext cx="7632700" cy="165100"/>
          </a:xfrm>
          <a:prstGeom prst="rect">
            <a:avLst/>
          </a:prstGeom>
          <a:noFill/>
        </p:spPr>
        <p:txBody>
          <a:bodyPr lIns="0" tIns="0" rIns="0" bIns="0" anchor="b"/>
          <a:lstStyle/>
          <a:p>
            <a:pPr latinLnBrk="0">
              <a:defRPr/>
            </a:pPr>
            <a:endParaRPr kumimoji="0" lang="en-GB" sz="900" dirty="0">
              <a:solidFill>
                <a:srgbClr val="25397D"/>
              </a:solidFill>
              <a:ea typeface="+mn-ea"/>
            </a:endParaRPr>
          </a:p>
        </p:txBody>
      </p:sp>
      <p:sp>
        <p:nvSpPr>
          <p:cNvPr id="5" name="bmkFld9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DA233BA6-9650-4D8F-BD9E-964299C93D3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slide corpor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mkFld11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4" name="bmkFld10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3999" y="5036400"/>
            <a:ext cx="7632000" cy="763200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ko-KR" altLang="en-US" noProof="0" smtClean="0"/>
              <a:t>마스터 제목 스타일 편집</a:t>
            </a:r>
            <a:endParaRPr lang="en-GB" noProof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741C55CB-C125-413E-B1E1-784D9B09B915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slide business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mkFld12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4" name="bmkFld11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3999" y="4845600"/>
            <a:ext cx="7632000" cy="763200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ko-KR" altLang="en-US" noProof="0" smtClean="0"/>
              <a:t>마스터 제목 스타일 편집</a:t>
            </a:r>
            <a:endParaRPr lang="en-GB" noProof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D6C14E5E-3FF0-4DD0-AA07-8D69BBD9879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12E6196-7EDC-48DE-8D4C-1C9CDD729EF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" name="Rectangle 47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667466-9974-4AD5-98D7-45EA92829654}" type="datetime4">
              <a:rPr lang="en-GB"/>
              <a:pPr>
                <a:defRPr/>
              </a:pPr>
              <a:t>20 March 2017</a:t>
            </a:fld>
            <a:endParaRPr lang="en-US" dirty="0"/>
          </a:p>
        </p:txBody>
      </p:sp>
      <p:sp>
        <p:nvSpPr>
          <p:cNvPr id="4" name="Rectangle 4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bullets for colored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/>
          <p:nvPr userDrawn="1"/>
        </p:nvSpPr>
        <p:spPr bwMode="auto">
          <a:xfrm>
            <a:off x="0" y="0"/>
            <a:ext cx="8640763" cy="59213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/>
          <a:lstStyle/>
          <a:p>
            <a:pPr latinLnBrk="0">
              <a:defRPr/>
            </a:pPr>
            <a:endParaRPr kumimoji="0" lang="en-GB" dirty="0">
              <a:solidFill>
                <a:srgbClr val="000000"/>
              </a:solidFill>
              <a:ea typeface="+mn-ea"/>
            </a:endParaRPr>
          </a:p>
        </p:txBody>
      </p:sp>
      <p:sp>
        <p:nvSpPr>
          <p:cNvPr id="5" name="bmkFld13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6" name="bmkFld12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503999" y="1514474"/>
            <a:ext cx="7632000" cy="39143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ko-KR" altLang="en-US" noProof="0" smtClean="0"/>
              <a:t>마스터 텍스트 스타일을 편집합니다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셋째 수준</a:t>
            </a:r>
          </a:p>
          <a:p>
            <a:pPr lvl="3"/>
            <a:r>
              <a:rPr lang="ko-KR" altLang="en-US" noProof="0" smtClean="0"/>
              <a:t>넷째 수준</a:t>
            </a:r>
          </a:p>
          <a:p>
            <a:pPr lvl="4"/>
            <a:r>
              <a:rPr lang="ko-KR" altLang="en-US" noProof="0" smtClean="0"/>
              <a:t>다섯째 수준</a:t>
            </a:r>
            <a:endParaRPr lang="en-GB" noProof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503999" y="616023"/>
            <a:ext cx="7632000" cy="626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ko-KR" altLang="en-US" noProof="0" smtClean="0"/>
              <a:t>마스터 제목 스타일 편집</a:t>
            </a:r>
            <a:endParaRPr lang="en-GB" noProof="0"/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56557F02-3A5B-4946-9503-E843E3C3712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for colored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/>
          <p:nvPr userDrawn="1"/>
        </p:nvSpPr>
        <p:spPr bwMode="auto">
          <a:xfrm>
            <a:off x="0" y="0"/>
            <a:ext cx="8640763" cy="59213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/>
          <a:lstStyle/>
          <a:p>
            <a:pPr latinLnBrk="0">
              <a:defRPr/>
            </a:pPr>
            <a:endParaRPr kumimoji="0" lang="en-GB" dirty="0">
              <a:solidFill>
                <a:srgbClr val="000000"/>
              </a:solidFill>
              <a:ea typeface="+mn-ea"/>
            </a:endParaRPr>
          </a:p>
        </p:txBody>
      </p:sp>
      <p:sp>
        <p:nvSpPr>
          <p:cNvPr id="5" name="bmkFld14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6" name="bmkFld13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503999" y="1514474"/>
            <a:ext cx="7632000" cy="3914325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ko-KR" altLang="en-US" noProof="0" smtClean="0"/>
              <a:t>마스터 텍스트 스타일을 편집합니다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셋째 수준</a:t>
            </a:r>
          </a:p>
          <a:p>
            <a:pPr lvl="3"/>
            <a:r>
              <a:rPr lang="ko-KR" altLang="en-US" noProof="0" smtClean="0"/>
              <a:t>넷째 수준</a:t>
            </a:r>
          </a:p>
          <a:p>
            <a:pPr lvl="4"/>
            <a:r>
              <a:rPr lang="ko-KR" altLang="en-US" noProof="0" smtClean="0"/>
              <a:t>다섯째 수준</a:t>
            </a:r>
            <a:endParaRPr lang="en-GB" noProof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503999" y="616023"/>
            <a:ext cx="7632000" cy="626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ko-KR" altLang="en-US" noProof="0" smtClean="0"/>
              <a:t>마스터 제목 스타일 편집</a:t>
            </a:r>
            <a:endParaRPr lang="en-GB" noProof="0"/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AC52AF16-89B0-4980-B509-3C738F1F34C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ion-Health-Histo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mkFld15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3" name="bmkFld14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8B72E6EB-2E4A-42C3-B46D-E009E5F59720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itle two conten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12"/>
          <p:cNvCxnSpPr>
            <a:cxnSpLocks noChangeShapeType="1"/>
          </p:cNvCxnSpPr>
          <p:nvPr userDrawn="1"/>
        </p:nvCxnSpPr>
        <p:spPr bwMode="auto">
          <a:xfrm>
            <a:off x="503238" y="5921375"/>
            <a:ext cx="8137525" cy="1588"/>
          </a:xfrm>
          <a:prstGeom prst="line">
            <a:avLst/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</p:cxnSp>
      <p:sp>
        <p:nvSpPr>
          <p:cNvPr id="8" name="bmkFld16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9" name="bmkHeader"/>
          <p:cNvSpPr txBox="1"/>
          <p:nvPr userDrawn="1"/>
        </p:nvSpPr>
        <p:spPr>
          <a:xfrm>
            <a:off x="503238" y="255588"/>
            <a:ext cx="7632700" cy="165100"/>
          </a:xfrm>
          <a:prstGeom prst="rect">
            <a:avLst/>
          </a:prstGeom>
          <a:noFill/>
        </p:spPr>
        <p:txBody>
          <a:bodyPr lIns="0" tIns="0" rIns="0" bIns="0" anchor="b"/>
          <a:lstStyle/>
          <a:p>
            <a:pPr latinLnBrk="0">
              <a:defRPr/>
            </a:pPr>
            <a:endParaRPr kumimoji="0" lang="en-GB" sz="900" dirty="0">
              <a:solidFill>
                <a:srgbClr val="25397D"/>
              </a:solidFill>
              <a:ea typeface="+mn-ea"/>
            </a:endParaRPr>
          </a:p>
        </p:txBody>
      </p:sp>
      <p:sp>
        <p:nvSpPr>
          <p:cNvPr id="10" name="bmkFld15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 noProof="0" smtClean="0"/>
              <a:t>마스터 제목 스타일 편집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4000" y="1535113"/>
            <a:ext cx="3826800" cy="536565"/>
          </a:xfrm>
        </p:spPr>
        <p:txBody>
          <a:bodyPr anchor="b"/>
          <a:lstStyle>
            <a:lvl1pPr marL="0" indent="0">
              <a:lnSpc>
                <a:spcPts val="2300"/>
              </a:lnSpc>
              <a:spcBef>
                <a:spcPts val="0"/>
              </a:spcBef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noProof="0" smtClean="0"/>
              <a:t>마스터 텍스트 스타일을 편집합니다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999" y="2174875"/>
            <a:ext cx="3826800" cy="333098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noProof="0" smtClean="0"/>
              <a:t>마스터 텍스트 스타일을 편집합니다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셋째 수준</a:t>
            </a:r>
          </a:p>
          <a:p>
            <a:pPr lvl="3"/>
            <a:r>
              <a:rPr lang="ko-KR" altLang="en-US" noProof="0" smtClean="0"/>
              <a:t>넷째 수준</a:t>
            </a:r>
          </a:p>
          <a:p>
            <a:pPr lvl="4"/>
            <a:r>
              <a:rPr lang="ko-KR" altLang="en-US" noProof="0" smtClean="0"/>
              <a:t>다섯째 수준</a:t>
            </a:r>
            <a:endParaRPr lang="en-GB" noProof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95200" y="1535113"/>
            <a:ext cx="3826800" cy="536400"/>
          </a:xfrm>
        </p:spPr>
        <p:txBody>
          <a:bodyPr anchor="b"/>
          <a:lstStyle>
            <a:lvl1pPr marL="0" indent="0">
              <a:lnSpc>
                <a:spcPts val="2300"/>
              </a:lnSpc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noProof="0" smtClean="0"/>
              <a:t>마스터 텍스트 스타일을 편집합니다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95200" y="2174875"/>
            <a:ext cx="3826800" cy="33300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noProof="0" smtClean="0"/>
              <a:t>마스터 텍스트 스타일을 편집합니다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셋째 수준</a:t>
            </a:r>
          </a:p>
          <a:p>
            <a:pPr lvl="3"/>
            <a:r>
              <a:rPr lang="ko-KR" altLang="en-US" noProof="0" smtClean="0"/>
              <a:t>넷째 수준</a:t>
            </a:r>
          </a:p>
          <a:p>
            <a:pPr lvl="4"/>
            <a:r>
              <a:rPr lang="ko-KR" altLang="en-US" noProof="0" smtClean="0"/>
              <a:t>다섯째 수준</a:t>
            </a:r>
            <a:endParaRPr lang="en-GB" noProof="0"/>
          </a:p>
        </p:txBody>
      </p:sp>
      <p:sp>
        <p:nvSpPr>
          <p:cNvPr id="11" name="Slide Number Placeholder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2D065955-CB93-4ABD-90E3-AE18DD35AE8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rpor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mkFPPicture" descr="Coloplast_Nature_Abstracts_02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8640763" cy="5919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3"/>
          <p:cNvSpPr/>
          <p:nvPr userDrawn="1"/>
        </p:nvSpPr>
        <p:spPr bwMode="auto">
          <a:xfrm>
            <a:off x="0" y="4381500"/>
            <a:ext cx="8640763" cy="1539875"/>
          </a:xfrm>
          <a:prstGeom prst="rect">
            <a:avLst/>
          </a:prstGeom>
          <a:solidFill>
            <a:srgbClr val="00B0CA">
              <a:alpha val="8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/>
          <a:lstStyle/>
          <a:p>
            <a:pPr latinLnBrk="0">
              <a:defRPr/>
            </a:pPr>
            <a:endParaRPr kumimoji="0" lang="en-GB" dirty="0">
              <a:solidFill>
                <a:srgbClr val="000000"/>
              </a:solidFill>
              <a:ea typeface="+mn-ea"/>
            </a:endParaRPr>
          </a:p>
        </p:txBody>
      </p:sp>
      <p:sp>
        <p:nvSpPr>
          <p:cNvPr id="6" name="bmkFldName"/>
          <p:cNvSpPr txBox="1"/>
          <p:nvPr userDrawn="1"/>
        </p:nvSpPr>
        <p:spPr>
          <a:xfrm>
            <a:off x="503238" y="5489575"/>
            <a:ext cx="7632700" cy="24606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1600" dirty="0">
              <a:solidFill>
                <a:srgbClr val="FFFFFF"/>
              </a:solidFill>
              <a:ea typeface="+mn-ea"/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03238" y="6173788"/>
            <a:ext cx="124618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bmkFld10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9" name="bmkHeader"/>
          <p:cNvSpPr txBox="1"/>
          <p:nvPr userDrawn="1"/>
        </p:nvSpPr>
        <p:spPr>
          <a:xfrm>
            <a:off x="503238" y="255588"/>
            <a:ext cx="7632700" cy="165100"/>
          </a:xfrm>
          <a:prstGeom prst="rect">
            <a:avLst/>
          </a:prstGeom>
          <a:noFill/>
        </p:spPr>
        <p:txBody>
          <a:bodyPr lIns="0" tIns="0" rIns="0" bIns="0" anchor="b"/>
          <a:lstStyle/>
          <a:p>
            <a:pPr latinLnBrk="0">
              <a:defRPr/>
            </a:pPr>
            <a:endParaRPr kumimoji="0" lang="en-GB" sz="900" dirty="0">
              <a:solidFill>
                <a:srgbClr val="25397D"/>
              </a:solidFill>
              <a:ea typeface="+mn-ea"/>
            </a:endParaRPr>
          </a:p>
        </p:txBody>
      </p:sp>
      <p:sp>
        <p:nvSpPr>
          <p:cNvPr id="10" name="bmkFld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pic>
        <p:nvPicPr>
          <p:cNvPr id="11" name="Picture 18" descr="6CPlogo_Blue_RGB_PP_41.png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167563" y="6167438"/>
            <a:ext cx="1476375" cy="331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8" name="Title 4097"/>
          <p:cNvSpPr>
            <a:spLocks noGrp="1" noChangeArrowheads="1"/>
          </p:cNvSpPr>
          <p:nvPr>
            <p:ph type="ctrTitle"/>
          </p:nvPr>
        </p:nvSpPr>
        <p:spPr>
          <a:xfrm>
            <a:off x="504000" y="4561200"/>
            <a:ext cx="7632000" cy="360000"/>
          </a:xfrm>
        </p:spPr>
        <p:txBody>
          <a:bodyPr/>
          <a:lstStyle>
            <a:lvl1pPr>
              <a:lnSpc>
                <a:spcPts val="29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altLang="ko-KR" noProof="0" smtClean="0"/>
              <a:t>Click to edit Master title style</a:t>
            </a:r>
            <a:endParaRPr lang="en-GB" noProof="0"/>
          </a:p>
        </p:txBody>
      </p:sp>
      <p:sp>
        <p:nvSpPr>
          <p:cNvPr id="4099" name="Subtitle 4098"/>
          <p:cNvSpPr>
            <a:spLocks noGrp="1" noChangeArrowheads="1"/>
          </p:cNvSpPr>
          <p:nvPr>
            <p:ph type="subTitle" idx="1"/>
          </p:nvPr>
        </p:nvSpPr>
        <p:spPr>
          <a:xfrm>
            <a:off x="504000" y="4939200"/>
            <a:ext cx="7632000" cy="360000"/>
          </a:xfrm>
        </p:spPr>
        <p:txBody>
          <a:bodyPr/>
          <a:lstStyle>
            <a:lvl1pPr marL="0" indent="0">
              <a:lnSpc>
                <a:spcPts val="1900"/>
              </a:lnSpc>
              <a:spcBef>
                <a:spcPct val="0"/>
              </a:spcBef>
              <a:buFontTx/>
              <a:buNone/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en-US" altLang="ko-KR" noProof="0" smtClean="0"/>
              <a:t>Click to edit Master subtitle style</a:t>
            </a:r>
            <a:endParaRPr lang="en-GB" noProof="0"/>
          </a:p>
        </p:txBody>
      </p:sp>
      <p:sp>
        <p:nvSpPr>
          <p:cNvPr id="12" name="Rectangle 3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2303463" y="6397625"/>
            <a:ext cx="1152525" cy="1016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821CE325-BC18-4FB9-8630-FDF20E2CEA6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>
            <a:cxnSpLocks noChangeShapeType="1"/>
          </p:cNvCxnSpPr>
          <p:nvPr userDrawn="1"/>
        </p:nvCxnSpPr>
        <p:spPr bwMode="auto">
          <a:xfrm>
            <a:off x="503238" y="5921375"/>
            <a:ext cx="8137525" cy="1588"/>
          </a:xfrm>
          <a:prstGeom prst="line">
            <a:avLst/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</p:cxnSp>
      <p:sp>
        <p:nvSpPr>
          <p:cNvPr id="5" name="bmkFld2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6" name="bmkHeader"/>
          <p:cNvSpPr txBox="1"/>
          <p:nvPr userDrawn="1"/>
        </p:nvSpPr>
        <p:spPr>
          <a:xfrm>
            <a:off x="503238" y="255588"/>
            <a:ext cx="7632700" cy="165100"/>
          </a:xfrm>
          <a:prstGeom prst="rect">
            <a:avLst/>
          </a:prstGeom>
          <a:noFill/>
        </p:spPr>
        <p:txBody>
          <a:bodyPr lIns="0" tIns="0" rIns="0" bIns="0" anchor="b"/>
          <a:lstStyle/>
          <a:p>
            <a:pPr latinLnBrk="0">
              <a:defRPr/>
            </a:pPr>
            <a:endParaRPr kumimoji="0" lang="en-GB" sz="900" dirty="0">
              <a:solidFill>
                <a:srgbClr val="25397D"/>
              </a:solidFill>
              <a:ea typeface="+mn-ea"/>
            </a:endParaRPr>
          </a:p>
        </p:txBody>
      </p:sp>
      <p:sp>
        <p:nvSpPr>
          <p:cNvPr id="7" name="bmkFld2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noProof="0" smtClean="0"/>
              <a:t>마스터 제목 스타일 편집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  <a:lvl6pPr>
              <a:defRPr baseline="0"/>
            </a:lvl6pPr>
            <a:lvl7pPr>
              <a:buFont typeface="Arial" pitchFamily="34" charset="0"/>
              <a:buChar char="•"/>
              <a:defRPr baseline="0"/>
            </a:lvl7pPr>
          </a:lstStyle>
          <a:p>
            <a:pPr lvl="0"/>
            <a:r>
              <a:rPr lang="ko-KR" altLang="en-US" noProof="0" smtClean="0"/>
              <a:t>마스터 텍스트 스타일을 편집합니다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셋째 수준</a:t>
            </a:r>
          </a:p>
          <a:p>
            <a:pPr lvl="3"/>
            <a:r>
              <a:rPr lang="ko-KR" altLang="en-US" noProof="0" smtClean="0"/>
              <a:t>넷째 수준</a:t>
            </a:r>
          </a:p>
          <a:p>
            <a:pPr lvl="4"/>
            <a:r>
              <a:rPr lang="ko-KR" altLang="en-US" noProof="0" smtClean="0"/>
              <a:t>다섯째 수준</a:t>
            </a:r>
            <a:endParaRPr lang="en-GB" noProof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A4F3640E-A0AB-4CBD-A5AF-4EB5A5D6AE6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mkFld3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cxnSp>
        <p:nvCxnSpPr>
          <p:cNvPr id="5" name="Straight Connector 10"/>
          <p:cNvCxnSpPr>
            <a:cxnSpLocks noChangeShapeType="1"/>
          </p:cNvCxnSpPr>
          <p:nvPr userDrawn="1"/>
        </p:nvCxnSpPr>
        <p:spPr bwMode="auto">
          <a:xfrm>
            <a:off x="503238" y="5921375"/>
            <a:ext cx="8137525" cy="1588"/>
          </a:xfrm>
          <a:prstGeom prst="line">
            <a:avLst/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</p:cxnSp>
      <p:sp>
        <p:nvSpPr>
          <p:cNvPr id="6" name="bmkHeader"/>
          <p:cNvSpPr txBox="1"/>
          <p:nvPr userDrawn="1"/>
        </p:nvSpPr>
        <p:spPr>
          <a:xfrm>
            <a:off x="503238" y="255588"/>
            <a:ext cx="7632700" cy="165100"/>
          </a:xfrm>
          <a:prstGeom prst="rect">
            <a:avLst/>
          </a:prstGeom>
          <a:noFill/>
        </p:spPr>
        <p:txBody>
          <a:bodyPr lIns="0" tIns="0" rIns="0" bIns="0" anchor="b"/>
          <a:lstStyle/>
          <a:p>
            <a:pPr latinLnBrk="0">
              <a:defRPr/>
            </a:pPr>
            <a:endParaRPr kumimoji="0" lang="en-GB" sz="900" dirty="0">
              <a:solidFill>
                <a:srgbClr val="25397D"/>
              </a:solidFill>
              <a:ea typeface="+mn-ea"/>
            </a:endParaRPr>
          </a:p>
        </p:txBody>
      </p:sp>
      <p:sp>
        <p:nvSpPr>
          <p:cNvPr id="7" name="bmkFld3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noProof="0" smtClean="0"/>
              <a:t>마스터 제목 스타일 편집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lnSpc>
                <a:spcPts val="2160"/>
              </a:lnSpc>
              <a:spcBef>
                <a:spcPts val="0"/>
              </a:spcBef>
              <a:buNone/>
              <a:tabLst/>
              <a:defRPr sz="1800" baseline="0"/>
            </a:lvl1pPr>
            <a:lvl2pPr marL="0" indent="0">
              <a:lnSpc>
                <a:spcPts val="1920"/>
              </a:lnSpc>
              <a:spcBef>
                <a:spcPts val="0"/>
              </a:spcBef>
              <a:buNone/>
              <a:defRPr sz="1600" baseline="0"/>
            </a:lvl2pPr>
            <a:lvl3pPr marL="0" indent="0">
              <a:lnSpc>
                <a:spcPts val="1920"/>
              </a:lnSpc>
              <a:spcBef>
                <a:spcPts val="0"/>
              </a:spcBef>
              <a:buNone/>
              <a:tabLst/>
              <a:defRPr sz="1600" baseline="0"/>
            </a:lvl3pPr>
            <a:lvl4pPr marL="0" indent="0">
              <a:lnSpc>
                <a:spcPts val="1920"/>
              </a:lnSpc>
              <a:spcBef>
                <a:spcPts val="0"/>
              </a:spcBef>
              <a:buNone/>
              <a:defRPr sz="1600" baseline="0"/>
            </a:lvl4pPr>
            <a:lvl5pPr marL="0" indent="0">
              <a:lnSpc>
                <a:spcPts val="1920"/>
              </a:lnSpc>
              <a:spcBef>
                <a:spcPts val="0"/>
              </a:spcBef>
              <a:buNone/>
              <a:defRPr sz="1600" baseline="0"/>
            </a:lvl5pPr>
          </a:lstStyle>
          <a:p>
            <a:pPr lvl="0"/>
            <a:r>
              <a:rPr lang="ko-KR" altLang="en-US" noProof="0" smtClean="0"/>
              <a:t>마스터 텍스트 스타일을 편집합니다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16FBCD67-F7ED-4EA1-AD3E-7ABBAE1CEAB5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mkFld4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cxnSp>
        <p:nvCxnSpPr>
          <p:cNvPr id="6" name="Straight Connector 11"/>
          <p:cNvCxnSpPr>
            <a:cxnSpLocks noChangeShapeType="1"/>
          </p:cNvCxnSpPr>
          <p:nvPr userDrawn="1"/>
        </p:nvCxnSpPr>
        <p:spPr bwMode="auto">
          <a:xfrm>
            <a:off x="503238" y="5921375"/>
            <a:ext cx="8137525" cy="1588"/>
          </a:xfrm>
          <a:prstGeom prst="line">
            <a:avLst/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</p:cxnSp>
      <p:sp>
        <p:nvSpPr>
          <p:cNvPr id="7" name="bmkHeader"/>
          <p:cNvSpPr txBox="1"/>
          <p:nvPr userDrawn="1"/>
        </p:nvSpPr>
        <p:spPr>
          <a:xfrm>
            <a:off x="503238" y="255588"/>
            <a:ext cx="7632700" cy="165100"/>
          </a:xfrm>
          <a:prstGeom prst="rect">
            <a:avLst/>
          </a:prstGeom>
          <a:noFill/>
        </p:spPr>
        <p:txBody>
          <a:bodyPr lIns="0" tIns="0" rIns="0" bIns="0" anchor="b"/>
          <a:lstStyle/>
          <a:p>
            <a:pPr latinLnBrk="0">
              <a:defRPr/>
            </a:pPr>
            <a:endParaRPr kumimoji="0" lang="en-GB" sz="900" dirty="0">
              <a:solidFill>
                <a:srgbClr val="25397D"/>
              </a:solidFill>
              <a:ea typeface="+mn-ea"/>
            </a:endParaRPr>
          </a:p>
        </p:txBody>
      </p:sp>
      <p:sp>
        <p:nvSpPr>
          <p:cNvPr id="8" name="bmkFld4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noProof="0" smtClean="0"/>
              <a:t>마스터 제목 스타일 편집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3999" y="1514475"/>
            <a:ext cx="3463200" cy="3986325"/>
          </a:xfrm>
        </p:spPr>
        <p:txBody>
          <a:bodyPr/>
          <a:lstStyle>
            <a:lvl1pPr marL="162000" indent="-162000">
              <a:tabLst/>
              <a:defRPr sz="1800"/>
            </a:lvl1pPr>
            <a:lvl2pPr marL="324000">
              <a:spcBef>
                <a:spcPts val="600"/>
              </a:spcBef>
              <a:tabLst/>
              <a:defRPr sz="1600"/>
            </a:lvl2pPr>
            <a:lvl3pPr marL="486000" indent="-162000">
              <a:spcBef>
                <a:spcPts val="600"/>
              </a:spcBef>
              <a:tabLst/>
              <a:defRPr sz="1600"/>
            </a:lvl3pPr>
            <a:lvl4pPr marL="648000">
              <a:spcBef>
                <a:spcPts val="600"/>
              </a:spcBef>
              <a:tabLst/>
              <a:defRPr sz="1600"/>
            </a:lvl4pPr>
            <a:lvl5pPr marL="810000" indent="-162000">
              <a:spcBef>
                <a:spcPts val="600"/>
              </a:spcBef>
              <a:tabLst/>
              <a:defRPr sz="1600" baseline="0"/>
            </a:lvl5pPr>
            <a:lvl6pPr marL="162000">
              <a:defRPr sz="1600"/>
            </a:lvl6pPr>
            <a:lvl7pPr marL="972000" indent="-162000">
              <a:spcBef>
                <a:spcPts val="600"/>
              </a:spcBef>
              <a:buSzPct val="85000"/>
              <a:tabLst/>
              <a:defRPr lang="en-US" sz="1600" baseline="0">
                <a:solidFill>
                  <a:schemeClr val="bg2"/>
                </a:solidFill>
                <a:latin typeface="+mn-lt"/>
              </a:defRPr>
            </a:lvl7pPr>
            <a:lvl8pPr marL="1134000" indent="-162000">
              <a:spcBef>
                <a:spcPts val="600"/>
              </a:spcBef>
              <a:buSzPct val="85000"/>
              <a:tabLst/>
              <a:defRPr lang="en-US" sz="1600" baseline="0">
                <a:solidFill>
                  <a:schemeClr val="bg2"/>
                </a:solidFill>
                <a:latin typeface="+mn-lt"/>
              </a:defRPr>
            </a:lvl8pPr>
            <a:lvl9pPr>
              <a:defRPr sz="1800"/>
            </a:lvl9pPr>
          </a:lstStyle>
          <a:p>
            <a:pPr lvl="0"/>
            <a:r>
              <a:rPr lang="ko-KR" altLang="en-US" noProof="0" smtClean="0"/>
              <a:t>마스터 텍스트 스타일을 편집합니다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셋째 수준</a:t>
            </a:r>
          </a:p>
          <a:p>
            <a:pPr lvl="3"/>
            <a:r>
              <a:rPr lang="ko-KR" altLang="en-US" noProof="0" smtClean="0"/>
              <a:t>넷째 수준</a:t>
            </a:r>
          </a:p>
          <a:p>
            <a:pPr lvl="4"/>
            <a:r>
              <a:rPr lang="ko-KR" altLang="en-US" noProof="0" smtClean="0"/>
              <a:t>다섯째 수준</a:t>
            </a:r>
            <a:endParaRPr lang="en-GB" noProof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1200" y="1514475"/>
            <a:ext cx="4168800" cy="3986325"/>
          </a:xfrm>
        </p:spPr>
        <p:txBody>
          <a:bodyPr/>
          <a:lstStyle>
            <a:lvl1pPr marL="162000">
              <a:defRPr sz="1800"/>
            </a:lvl1pPr>
            <a:lvl2pPr marL="324000">
              <a:spcBef>
                <a:spcPts val="600"/>
              </a:spcBef>
              <a:defRPr sz="1600"/>
            </a:lvl2pPr>
            <a:lvl3pPr marL="486000">
              <a:spcBef>
                <a:spcPts val="600"/>
              </a:spcBef>
              <a:defRPr sz="1600"/>
            </a:lvl3pPr>
            <a:lvl4pPr marL="648000">
              <a:spcBef>
                <a:spcPts val="600"/>
              </a:spcBef>
              <a:defRPr sz="1600"/>
            </a:lvl4pPr>
            <a:lvl5pPr marL="810000" indent="-162000">
              <a:spcBef>
                <a:spcPts val="600"/>
              </a:spcBef>
              <a:defRPr sz="1600"/>
            </a:lvl5pPr>
            <a:lvl6pPr marL="972000">
              <a:defRPr sz="1600"/>
            </a:lvl6pPr>
            <a:lvl7pPr>
              <a:buFont typeface="Arial" pitchFamily="34" charset="0"/>
              <a:buChar char="•"/>
              <a:defRPr lang="en-US" sz="1600" smtClean="0">
                <a:solidFill>
                  <a:schemeClr val="bg2"/>
                </a:solidFill>
                <a:latin typeface="+mn-lt"/>
              </a:defRPr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noProof="0" smtClean="0"/>
              <a:t>마스터 텍스트 스타일을 편집합니다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셋째 수준</a:t>
            </a:r>
          </a:p>
          <a:p>
            <a:pPr lvl="3"/>
            <a:r>
              <a:rPr lang="ko-KR" altLang="en-US" noProof="0" smtClean="0"/>
              <a:t>넷째 수준</a:t>
            </a:r>
          </a:p>
          <a:p>
            <a:pPr lvl="4"/>
            <a:r>
              <a:rPr lang="ko-KR" altLang="en-US" noProof="0" smtClean="0"/>
              <a:t>다섯째 수준</a:t>
            </a:r>
            <a:endParaRPr lang="en-GB" noProof="0" smtClean="0"/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96537769-1F31-4FDC-B475-E614C968068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mkFld5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cxnSp>
        <p:nvCxnSpPr>
          <p:cNvPr id="5" name="Straight Connector 10"/>
          <p:cNvCxnSpPr>
            <a:cxnSpLocks noChangeShapeType="1"/>
          </p:cNvCxnSpPr>
          <p:nvPr userDrawn="1"/>
        </p:nvCxnSpPr>
        <p:spPr bwMode="auto">
          <a:xfrm>
            <a:off x="503238" y="5921375"/>
            <a:ext cx="8137525" cy="1588"/>
          </a:xfrm>
          <a:prstGeom prst="line">
            <a:avLst/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</p:cxnSp>
      <p:sp>
        <p:nvSpPr>
          <p:cNvPr id="6" name="bmkHeader"/>
          <p:cNvSpPr txBox="1"/>
          <p:nvPr userDrawn="1"/>
        </p:nvSpPr>
        <p:spPr>
          <a:xfrm>
            <a:off x="503238" y="255588"/>
            <a:ext cx="7632700" cy="165100"/>
          </a:xfrm>
          <a:prstGeom prst="rect">
            <a:avLst/>
          </a:prstGeom>
          <a:noFill/>
        </p:spPr>
        <p:txBody>
          <a:bodyPr lIns="0" tIns="0" rIns="0" bIns="0" anchor="b"/>
          <a:lstStyle/>
          <a:p>
            <a:pPr latinLnBrk="0">
              <a:defRPr/>
            </a:pPr>
            <a:endParaRPr kumimoji="0" lang="en-GB" sz="900" dirty="0">
              <a:solidFill>
                <a:srgbClr val="25397D"/>
              </a:solidFill>
              <a:ea typeface="+mn-ea"/>
            </a:endParaRPr>
          </a:p>
        </p:txBody>
      </p:sp>
      <p:sp>
        <p:nvSpPr>
          <p:cNvPr id="8" name="bmkFld5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noProof="0" smtClean="0"/>
              <a:t>마스터 제목 스타일 편집</a:t>
            </a:r>
            <a:endParaRPr lang="en-GB" noProof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4000" y="1514475"/>
            <a:ext cx="8136000" cy="4407525"/>
          </a:xfrm>
        </p:spPr>
        <p:txBody>
          <a:bodyPr/>
          <a:lstStyle/>
          <a:p>
            <a:pPr lvl="0"/>
            <a:r>
              <a:rPr lang="ko-KR" altLang="en-US" noProof="0" dirty="0" smtClean="0"/>
              <a:t>그림을 추가하려면 아이콘을 클릭하십시오</a:t>
            </a:r>
            <a:endParaRPr lang="en-GB" noProof="0" dirty="0"/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EE66B70F-7F6F-4B4A-A925-85EF9242F3D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 space for logo or department signa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mkFld6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cxnSp>
        <p:nvCxnSpPr>
          <p:cNvPr id="4" name="Straight Connector 9"/>
          <p:cNvCxnSpPr>
            <a:cxnSpLocks noChangeShapeType="1"/>
          </p:cNvCxnSpPr>
          <p:nvPr userDrawn="1"/>
        </p:nvCxnSpPr>
        <p:spPr bwMode="auto">
          <a:xfrm>
            <a:off x="503238" y="5921375"/>
            <a:ext cx="8137525" cy="1588"/>
          </a:xfrm>
          <a:prstGeom prst="line">
            <a:avLst/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</p:cxnSp>
      <p:sp>
        <p:nvSpPr>
          <p:cNvPr id="5" name="bmkHeader"/>
          <p:cNvSpPr txBox="1"/>
          <p:nvPr userDrawn="1"/>
        </p:nvSpPr>
        <p:spPr>
          <a:xfrm>
            <a:off x="503238" y="255588"/>
            <a:ext cx="7632700" cy="165100"/>
          </a:xfrm>
          <a:prstGeom prst="rect">
            <a:avLst/>
          </a:prstGeom>
          <a:noFill/>
        </p:spPr>
        <p:txBody>
          <a:bodyPr lIns="0" tIns="0" rIns="0" bIns="0" anchor="b"/>
          <a:lstStyle/>
          <a:p>
            <a:pPr latinLnBrk="0">
              <a:defRPr/>
            </a:pPr>
            <a:endParaRPr kumimoji="0" lang="en-GB" sz="900" dirty="0">
              <a:solidFill>
                <a:srgbClr val="25397D"/>
              </a:solidFill>
              <a:ea typeface="+mn-ea"/>
            </a:endParaRPr>
          </a:p>
        </p:txBody>
      </p:sp>
      <p:sp>
        <p:nvSpPr>
          <p:cNvPr id="7" name="bmkFld6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504000" y="936000"/>
            <a:ext cx="8136000" cy="4986000"/>
          </a:xfrm>
          <a:solidFill>
            <a:schemeClr val="bg2"/>
          </a:solidFill>
        </p:spPr>
        <p:txBody>
          <a:bodyPr/>
          <a:lstStyle/>
          <a:p>
            <a:pPr lvl="0"/>
            <a:r>
              <a:rPr lang="ko-KR" altLang="en-US" noProof="0" dirty="0" smtClean="0"/>
              <a:t>그림을 추가하려면 아이콘을 클릭하십시오</a:t>
            </a:r>
            <a:endParaRPr lang="en-GB" noProof="0" dirty="0"/>
          </a:p>
        </p:txBody>
      </p:sp>
      <p:sp>
        <p:nvSpPr>
          <p:cNvPr id="8" name="Slide Number Placehold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0F8C30C0-58CE-43EF-BB60-42F993F59571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en-US"/>
          </a:p>
        </p:txBody>
      </p:sp>
      <p:sp>
        <p:nvSpPr>
          <p:cNvPr id="4" name="Rectangle 4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4A1E3DF-0A93-4958-8DDE-6DB42A771AE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47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56C9CF-0457-4610-B7A0-4F0454E711FE}" type="datetime4">
              <a:rPr lang="en-GB"/>
              <a:pPr>
                <a:defRPr/>
              </a:pPr>
              <a:t>20 March 2017</a:t>
            </a:fld>
            <a:endParaRPr lang="en-US" dirty="0"/>
          </a:p>
        </p:txBody>
      </p:sp>
      <p:sp>
        <p:nvSpPr>
          <p:cNvPr id="6" name="Rectangle 4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mkFld7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cxnSp>
        <p:nvCxnSpPr>
          <p:cNvPr id="4" name="Straight Connector 9"/>
          <p:cNvCxnSpPr>
            <a:cxnSpLocks noChangeShapeType="1"/>
          </p:cNvCxnSpPr>
          <p:nvPr userDrawn="1"/>
        </p:nvCxnSpPr>
        <p:spPr bwMode="auto">
          <a:xfrm>
            <a:off x="503238" y="5921375"/>
            <a:ext cx="8137525" cy="1588"/>
          </a:xfrm>
          <a:prstGeom prst="line">
            <a:avLst/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</p:cxnSp>
      <p:sp>
        <p:nvSpPr>
          <p:cNvPr id="5" name="bmkFld7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504000" y="504000"/>
            <a:ext cx="8136000" cy="5418000"/>
          </a:xfrm>
        </p:spPr>
        <p:txBody>
          <a:bodyPr/>
          <a:lstStyle/>
          <a:p>
            <a:pPr lvl="0"/>
            <a:r>
              <a:rPr lang="ko-KR" altLang="en-US" noProof="0" dirty="0" smtClean="0"/>
              <a:t>그림을 추가하려면 아이콘을 클릭하십시오</a:t>
            </a:r>
            <a:endParaRPr lang="en-GB" noProof="0" dirty="0"/>
          </a:p>
        </p:txBody>
      </p:sp>
      <p:sp>
        <p:nvSpPr>
          <p:cNvPr id="7" name="Slide Number Placehold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E959FDE4-392C-406E-A492-422AE88F10F7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mkFld8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cxnSp>
        <p:nvCxnSpPr>
          <p:cNvPr id="4" name="Straight Connector 9"/>
          <p:cNvCxnSpPr>
            <a:cxnSpLocks noChangeShapeType="1"/>
          </p:cNvCxnSpPr>
          <p:nvPr userDrawn="1"/>
        </p:nvCxnSpPr>
        <p:spPr bwMode="auto">
          <a:xfrm>
            <a:off x="503238" y="5921375"/>
            <a:ext cx="8137525" cy="1588"/>
          </a:xfrm>
          <a:prstGeom prst="line">
            <a:avLst/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</p:cxnSp>
      <p:sp>
        <p:nvSpPr>
          <p:cNvPr id="5" name="bmkHeader"/>
          <p:cNvSpPr txBox="1"/>
          <p:nvPr userDrawn="1"/>
        </p:nvSpPr>
        <p:spPr>
          <a:xfrm>
            <a:off x="503238" y="255588"/>
            <a:ext cx="7632700" cy="165100"/>
          </a:xfrm>
          <a:prstGeom prst="rect">
            <a:avLst/>
          </a:prstGeom>
          <a:noFill/>
        </p:spPr>
        <p:txBody>
          <a:bodyPr lIns="0" tIns="0" rIns="0" bIns="0" anchor="b"/>
          <a:lstStyle/>
          <a:p>
            <a:pPr latinLnBrk="0">
              <a:defRPr/>
            </a:pPr>
            <a:endParaRPr kumimoji="0" lang="en-GB" sz="900" dirty="0">
              <a:solidFill>
                <a:srgbClr val="25397D"/>
              </a:solidFill>
              <a:ea typeface="+mn-ea"/>
            </a:endParaRPr>
          </a:p>
        </p:txBody>
      </p:sp>
      <p:sp>
        <p:nvSpPr>
          <p:cNvPr id="6" name="bmkFld8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noProof="0" smtClean="0"/>
              <a:t>마스터 제목 스타일 편집</a:t>
            </a:r>
            <a:endParaRPr lang="en-GB" noProof="0"/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4E48BD65-F0B8-42E3-9DB8-C24E50D063E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mkFld9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cxnSp>
        <p:nvCxnSpPr>
          <p:cNvPr id="3" name="Straight Connector 7"/>
          <p:cNvCxnSpPr>
            <a:cxnSpLocks noChangeShapeType="1"/>
          </p:cNvCxnSpPr>
          <p:nvPr userDrawn="1"/>
        </p:nvCxnSpPr>
        <p:spPr bwMode="auto">
          <a:xfrm>
            <a:off x="503238" y="5921375"/>
            <a:ext cx="8137525" cy="1588"/>
          </a:xfrm>
          <a:prstGeom prst="line">
            <a:avLst/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</p:cxnSp>
      <p:sp>
        <p:nvSpPr>
          <p:cNvPr id="4" name="bmkHeader"/>
          <p:cNvSpPr txBox="1"/>
          <p:nvPr userDrawn="1"/>
        </p:nvSpPr>
        <p:spPr>
          <a:xfrm>
            <a:off x="503238" y="255588"/>
            <a:ext cx="7632700" cy="165100"/>
          </a:xfrm>
          <a:prstGeom prst="rect">
            <a:avLst/>
          </a:prstGeom>
          <a:noFill/>
        </p:spPr>
        <p:txBody>
          <a:bodyPr lIns="0" tIns="0" rIns="0" bIns="0" anchor="b"/>
          <a:lstStyle/>
          <a:p>
            <a:pPr latinLnBrk="0">
              <a:defRPr/>
            </a:pPr>
            <a:endParaRPr kumimoji="0" lang="en-GB" sz="900" dirty="0">
              <a:solidFill>
                <a:srgbClr val="25397D"/>
              </a:solidFill>
              <a:ea typeface="+mn-ea"/>
            </a:endParaRPr>
          </a:p>
        </p:txBody>
      </p:sp>
      <p:sp>
        <p:nvSpPr>
          <p:cNvPr id="5" name="bmkFld9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350F9C82-5C94-46D6-9AB3-741C4D266611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slide corpor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mkFld11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4" name="bmkFld10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3999" y="5036400"/>
            <a:ext cx="7632000" cy="763200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ko-KR" altLang="en-US" noProof="0" smtClean="0"/>
              <a:t>마스터 제목 스타일 편집</a:t>
            </a:r>
            <a:endParaRPr lang="en-GB" noProof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81BA7DD9-D2A9-4984-8071-3D9B0E4DF22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slide business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mkFld12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4" name="bmkFld11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3999" y="4845600"/>
            <a:ext cx="7632000" cy="763200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ko-KR" altLang="en-US" noProof="0" smtClean="0"/>
              <a:t>마스터 제목 스타일 편집</a:t>
            </a:r>
            <a:endParaRPr lang="en-GB" noProof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45F79F81-F009-4220-99A6-2123AF85CBB5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bullets for colored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/>
          <p:nvPr userDrawn="1"/>
        </p:nvSpPr>
        <p:spPr bwMode="auto">
          <a:xfrm>
            <a:off x="0" y="0"/>
            <a:ext cx="8640763" cy="59213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/>
          <a:lstStyle/>
          <a:p>
            <a:pPr latinLnBrk="0">
              <a:defRPr/>
            </a:pPr>
            <a:endParaRPr kumimoji="0" lang="en-GB" dirty="0">
              <a:solidFill>
                <a:srgbClr val="000000"/>
              </a:solidFill>
              <a:ea typeface="+mn-ea"/>
            </a:endParaRPr>
          </a:p>
        </p:txBody>
      </p:sp>
      <p:sp>
        <p:nvSpPr>
          <p:cNvPr id="5" name="bmkFld13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6" name="bmkFld12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503999" y="1514474"/>
            <a:ext cx="7632000" cy="39143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ko-KR" altLang="en-US" noProof="0" smtClean="0"/>
              <a:t>마스터 텍스트 스타일을 편집합니다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셋째 수준</a:t>
            </a:r>
          </a:p>
          <a:p>
            <a:pPr lvl="3"/>
            <a:r>
              <a:rPr lang="ko-KR" altLang="en-US" noProof="0" smtClean="0"/>
              <a:t>넷째 수준</a:t>
            </a:r>
          </a:p>
          <a:p>
            <a:pPr lvl="4"/>
            <a:r>
              <a:rPr lang="ko-KR" altLang="en-US" noProof="0" smtClean="0"/>
              <a:t>다섯째 수준</a:t>
            </a:r>
            <a:endParaRPr lang="en-GB" noProof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503999" y="616023"/>
            <a:ext cx="7632000" cy="626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ko-KR" altLang="en-US" noProof="0" smtClean="0"/>
              <a:t>마스터 제목 스타일 편집</a:t>
            </a:r>
            <a:endParaRPr lang="en-GB" noProof="0"/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0A995B13-3A5D-40D7-807D-95FAC1B9928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for colored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/>
          <p:nvPr userDrawn="1"/>
        </p:nvSpPr>
        <p:spPr bwMode="auto">
          <a:xfrm>
            <a:off x="0" y="0"/>
            <a:ext cx="8640763" cy="59213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/>
          <a:lstStyle/>
          <a:p>
            <a:pPr latinLnBrk="0">
              <a:defRPr/>
            </a:pPr>
            <a:endParaRPr kumimoji="0" lang="en-GB" dirty="0">
              <a:solidFill>
                <a:srgbClr val="000000"/>
              </a:solidFill>
              <a:ea typeface="+mn-ea"/>
            </a:endParaRPr>
          </a:p>
        </p:txBody>
      </p:sp>
      <p:sp>
        <p:nvSpPr>
          <p:cNvPr id="5" name="bmkFld14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6" name="bmkFld13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503999" y="1514474"/>
            <a:ext cx="7632000" cy="3914325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ko-KR" altLang="en-US" noProof="0" smtClean="0"/>
              <a:t>마스터 텍스트 스타일을 편집합니다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셋째 수준</a:t>
            </a:r>
          </a:p>
          <a:p>
            <a:pPr lvl="3"/>
            <a:r>
              <a:rPr lang="ko-KR" altLang="en-US" noProof="0" smtClean="0"/>
              <a:t>넷째 수준</a:t>
            </a:r>
          </a:p>
          <a:p>
            <a:pPr lvl="4"/>
            <a:r>
              <a:rPr lang="ko-KR" altLang="en-US" noProof="0" smtClean="0"/>
              <a:t>다섯째 수준</a:t>
            </a:r>
            <a:endParaRPr lang="en-GB" noProof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503999" y="616023"/>
            <a:ext cx="7632000" cy="626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ko-KR" altLang="en-US" noProof="0" smtClean="0"/>
              <a:t>마스터 제목 스타일 편집</a:t>
            </a:r>
            <a:endParaRPr lang="en-GB" noProof="0"/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72B97794-86B7-4542-B148-CBAC026C09A7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ion-Health-Histo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mkFld15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3" name="bmkFld14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9523A0A0-2F4C-4CA0-B925-73090768795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itle two conten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12"/>
          <p:cNvCxnSpPr>
            <a:cxnSpLocks noChangeShapeType="1"/>
          </p:cNvCxnSpPr>
          <p:nvPr userDrawn="1"/>
        </p:nvCxnSpPr>
        <p:spPr bwMode="auto">
          <a:xfrm>
            <a:off x="503238" y="5921375"/>
            <a:ext cx="8137525" cy="1588"/>
          </a:xfrm>
          <a:prstGeom prst="line">
            <a:avLst/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</p:cxnSp>
      <p:sp>
        <p:nvSpPr>
          <p:cNvPr id="8" name="bmkFld16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9" name="bmkHeader"/>
          <p:cNvSpPr txBox="1"/>
          <p:nvPr userDrawn="1"/>
        </p:nvSpPr>
        <p:spPr>
          <a:xfrm>
            <a:off x="503238" y="255588"/>
            <a:ext cx="7632700" cy="165100"/>
          </a:xfrm>
          <a:prstGeom prst="rect">
            <a:avLst/>
          </a:prstGeom>
          <a:noFill/>
        </p:spPr>
        <p:txBody>
          <a:bodyPr lIns="0" tIns="0" rIns="0" bIns="0" anchor="b"/>
          <a:lstStyle/>
          <a:p>
            <a:pPr latinLnBrk="0">
              <a:defRPr/>
            </a:pPr>
            <a:endParaRPr kumimoji="0" lang="en-GB" sz="900" dirty="0">
              <a:solidFill>
                <a:srgbClr val="25397D"/>
              </a:solidFill>
              <a:ea typeface="+mn-ea"/>
            </a:endParaRPr>
          </a:p>
        </p:txBody>
      </p:sp>
      <p:sp>
        <p:nvSpPr>
          <p:cNvPr id="10" name="bmkFld15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 noProof="0" smtClean="0"/>
              <a:t>마스터 제목 스타일 편집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4000" y="1535113"/>
            <a:ext cx="3826800" cy="536565"/>
          </a:xfrm>
        </p:spPr>
        <p:txBody>
          <a:bodyPr anchor="b"/>
          <a:lstStyle>
            <a:lvl1pPr marL="0" indent="0">
              <a:lnSpc>
                <a:spcPts val="2300"/>
              </a:lnSpc>
              <a:spcBef>
                <a:spcPts val="0"/>
              </a:spcBef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noProof="0" smtClean="0"/>
              <a:t>마스터 텍스트 스타일을 편집합니다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999" y="2174875"/>
            <a:ext cx="3826800" cy="333098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noProof="0" smtClean="0"/>
              <a:t>마스터 텍스트 스타일을 편집합니다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셋째 수준</a:t>
            </a:r>
          </a:p>
          <a:p>
            <a:pPr lvl="3"/>
            <a:r>
              <a:rPr lang="ko-KR" altLang="en-US" noProof="0" smtClean="0"/>
              <a:t>넷째 수준</a:t>
            </a:r>
          </a:p>
          <a:p>
            <a:pPr lvl="4"/>
            <a:r>
              <a:rPr lang="ko-KR" altLang="en-US" noProof="0" smtClean="0"/>
              <a:t>다섯째 수준</a:t>
            </a:r>
            <a:endParaRPr lang="en-GB" noProof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95200" y="1535113"/>
            <a:ext cx="3826800" cy="536400"/>
          </a:xfrm>
        </p:spPr>
        <p:txBody>
          <a:bodyPr anchor="b"/>
          <a:lstStyle>
            <a:lvl1pPr marL="0" indent="0">
              <a:lnSpc>
                <a:spcPts val="2300"/>
              </a:lnSpc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noProof="0" smtClean="0"/>
              <a:t>마스터 텍스트 스타일을 편집합니다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95200" y="2174875"/>
            <a:ext cx="3826800" cy="33300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noProof="0" smtClean="0"/>
              <a:t>마스터 텍스트 스타일을 편집합니다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셋째 수준</a:t>
            </a:r>
          </a:p>
          <a:p>
            <a:pPr lvl="3"/>
            <a:r>
              <a:rPr lang="ko-KR" altLang="en-US" noProof="0" smtClean="0"/>
              <a:t>넷째 수준</a:t>
            </a:r>
          </a:p>
          <a:p>
            <a:pPr lvl="4"/>
            <a:r>
              <a:rPr lang="ko-KR" altLang="en-US" noProof="0" smtClean="0"/>
              <a:t>다섯째 수준</a:t>
            </a:r>
            <a:endParaRPr lang="en-GB" noProof="0"/>
          </a:p>
        </p:txBody>
      </p:sp>
      <p:sp>
        <p:nvSpPr>
          <p:cNvPr id="11" name="Slide Number Placeholder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2CB90E09-EFD2-44F9-80A1-382768941FA0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rpor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mkFPPicture" descr="Coloplast_Nature_Abstracts_02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8640763" cy="5919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3"/>
          <p:cNvSpPr/>
          <p:nvPr userDrawn="1"/>
        </p:nvSpPr>
        <p:spPr bwMode="auto">
          <a:xfrm>
            <a:off x="0" y="4381500"/>
            <a:ext cx="8640763" cy="1539875"/>
          </a:xfrm>
          <a:prstGeom prst="rect">
            <a:avLst/>
          </a:prstGeom>
          <a:solidFill>
            <a:srgbClr val="00B0CA">
              <a:alpha val="8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/>
          <a:lstStyle/>
          <a:p>
            <a:pPr latinLnBrk="0">
              <a:defRPr/>
            </a:pPr>
            <a:endParaRPr kumimoji="0" lang="en-GB" dirty="0">
              <a:solidFill>
                <a:srgbClr val="000000"/>
              </a:solidFill>
              <a:ea typeface="+mn-ea"/>
            </a:endParaRPr>
          </a:p>
        </p:txBody>
      </p:sp>
      <p:sp>
        <p:nvSpPr>
          <p:cNvPr id="6" name="bmkFldName"/>
          <p:cNvSpPr txBox="1"/>
          <p:nvPr userDrawn="1"/>
        </p:nvSpPr>
        <p:spPr>
          <a:xfrm>
            <a:off x="503238" y="5489575"/>
            <a:ext cx="7632700" cy="24606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1600" dirty="0">
              <a:solidFill>
                <a:srgbClr val="FFFFFF"/>
              </a:solidFill>
              <a:ea typeface="+mn-ea"/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03238" y="6173788"/>
            <a:ext cx="124618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bmkFld10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9" name="bmkHeader"/>
          <p:cNvSpPr txBox="1"/>
          <p:nvPr userDrawn="1"/>
        </p:nvSpPr>
        <p:spPr>
          <a:xfrm>
            <a:off x="503238" y="255588"/>
            <a:ext cx="7632700" cy="165100"/>
          </a:xfrm>
          <a:prstGeom prst="rect">
            <a:avLst/>
          </a:prstGeom>
          <a:noFill/>
        </p:spPr>
        <p:txBody>
          <a:bodyPr lIns="0" tIns="0" rIns="0" bIns="0" anchor="b"/>
          <a:lstStyle/>
          <a:p>
            <a:pPr latinLnBrk="0">
              <a:defRPr/>
            </a:pPr>
            <a:endParaRPr kumimoji="0" lang="en-GB" sz="900" dirty="0">
              <a:solidFill>
                <a:srgbClr val="25397D"/>
              </a:solidFill>
              <a:ea typeface="+mn-ea"/>
            </a:endParaRPr>
          </a:p>
        </p:txBody>
      </p:sp>
      <p:sp>
        <p:nvSpPr>
          <p:cNvPr id="10" name="bmkFld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pic>
        <p:nvPicPr>
          <p:cNvPr id="11" name="Picture 18" descr="6CPlogo_Blue_RGB_PP_41.png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167563" y="6167438"/>
            <a:ext cx="1476375" cy="331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8" name="Title 4097"/>
          <p:cNvSpPr>
            <a:spLocks noGrp="1" noChangeArrowheads="1"/>
          </p:cNvSpPr>
          <p:nvPr>
            <p:ph type="ctrTitle"/>
          </p:nvPr>
        </p:nvSpPr>
        <p:spPr>
          <a:xfrm>
            <a:off x="504000" y="4561200"/>
            <a:ext cx="7632000" cy="360000"/>
          </a:xfrm>
        </p:spPr>
        <p:txBody>
          <a:bodyPr/>
          <a:lstStyle>
            <a:lvl1pPr>
              <a:lnSpc>
                <a:spcPts val="29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altLang="ko-KR" noProof="0" smtClean="0"/>
              <a:t>Click to edit Master title style</a:t>
            </a:r>
            <a:endParaRPr lang="en-GB" noProof="0"/>
          </a:p>
        </p:txBody>
      </p:sp>
      <p:sp>
        <p:nvSpPr>
          <p:cNvPr id="4099" name="Subtitle 4098"/>
          <p:cNvSpPr>
            <a:spLocks noGrp="1" noChangeArrowheads="1"/>
          </p:cNvSpPr>
          <p:nvPr>
            <p:ph type="subTitle" idx="1"/>
          </p:nvPr>
        </p:nvSpPr>
        <p:spPr>
          <a:xfrm>
            <a:off x="504000" y="4939200"/>
            <a:ext cx="7632000" cy="360000"/>
          </a:xfrm>
        </p:spPr>
        <p:txBody>
          <a:bodyPr/>
          <a:lstStyle>
            <a:lvl1pPr marL="0" indent="0">
              <a:lnSpc>
                <a:spcPts val="1900"/>
              </a:lnSpc>
              <a:spcBef>
                <a:spcPct val="0"/>
              </a:spcBef>
              <a:buFontTx/>
              <a:buNone/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en-US" altLang="ko-KR" noProof="0" smtClean="0"/>
              <a:t>Click to edit Master subtitle style</a:t>
            </a:r>
            <a:endParaRPr lang="en-GB" noProof="0"/>
          </a:p>
        </p:txBody>
      </p:sp>
      <p:sp>
        <p:nvSpPr>
          <p:cNvPr id="12" name="Rectangle 3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2303463" y="6397625"/>
            <a:ext cx="1152525" cy="1016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363B4E9A-EFAD-4527-A70A-FCC9E4831E8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424613" y="898525"/>
            <a:ext cx="1852612" cy="4643438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63600" y="898525"/>
            <a:ext cx="5408613" cy="4643438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en-US"/>
          </a:p>
        </p:txBody>
      </p:sp>
      <p:sp>
        <p:nvSpPr>
          <p:cNvPr id="4" name="Rectangle 4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A534F6C-DC94-44CF-B8B3-9952B5B0E10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47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BBDAAD8-6C2E-4B7E-9906-2AA521C3C0B9}" type="datetime4">
              <a:rPr lang="en-GB"/>
              <a:pPr>
                <a:defRPr/>
              </a:pPr>
              <a:t>20 March 2017</a:t>
            </a:fld>
            <a:endParaRPr lang="en-US" dirty="0"/>
          </a:p>
        </p:txBody>
      </p:sp>
      <p:sp>
        <p:nvSpPr>
          <p:cNvPr id="6" name="Rectangle 4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>
            <a:cxnSpLocks noChangeShapeType="1"/>
          </p:cNvCxnSpPr>
          <p:nvPr userDrawn="1"/>
        </p:nvCxnSpPr>
        <p:spPr bwMode="auto">
          <a:xfrm>
            <a:off x="503238" y="5921375"/>
            <a:ext cx="8137525" cy="1588"/>
          </a:xfrm>
          <a:prstGeom prst="line">
            <a:avLst/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</p:cxnSp>
      <p:sp>
        <p:nvSpPr>
          <p:cNvPr id="5" name="bmkFld2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6" name="bmkHeader"/>
          <p:cNvSpPr txBox="1"/>
          <p:nvPr userDrawn="1"/>
        </p:nvSpPr>
        <p:spPr>
          <a:xfrm>
            <a:off x="503238" y="255588"/>
            <a:ext cx="7632700" cy="165100"/>
          </a:xfrm>
          <a:prstGeom prst="rect">
            <a:avLst/>
          </a:prstGeom>
          <a:noFill/>
        </p:spPr>
        <p:txBody>
          <a:bodyPr lIns="0" tIns="0" rIns="0" bIns="0" anchor="b"/>
          <a:lstStyle/>
          <a:p>
            <a:pPr latinLnBrk="0">
              <a:defRPr/>
            </a:pPr>
            <a:endParaRPr kumimoji="0" lang="en-GB" sz="900" dirty="0">
              <a:solidFill>
                <a:srgbClr val="25397D"/>
              </a:solidFill>
              <a:ea typeface="+mn-ea"/>
            </a:endParaRPr>
          </a:p>
        </p:txBody>
      </p:sp>
      <p:sp>
        <p:nvSpPr>
          <p:cNvPr id="7" name="bmkFld2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noProof="0" smtClean="0"/>
              <a:t>마스터 제목 스타일 편집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  <a:lvl6pPr>
              <a:defRPr baseline="0"/>
            </a:lvl6pPr>
            <a:lvl7pPr>
              <a:buFont typeface="Arial" pitchFamily="34" charset="0"/>
              <a:buChar char="•"/>
              <a:defRPr baseline="0"/>
            </a:lvl7pPr>
          </a:lstStyle>
          <a:p>
            <a:pPr lvl="0"/>
            <a:r>
              <a:rPr lang="ko-KR" altLang="en-US" noProof="0" smtClean="0"/>
              <a:t>마스터 텍스트 스타일을 편집합니다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셋째 수준</a:t>
            </a:r>
          </a:p>
          <a:p>
            <a:pPr lvl="3"/>
            <a:r>
              <a:rPr lang="ko-KR" altLang="en-US" noProof="0" smtClean="0"/>
              <a:t>넷째 수준</a:t>
            </a:r>
          </a:p>
          <a:p>
            <a:pPr lvl="4"/>
            <a:r>
              <a:rPr lang="ko-KR" altLang="en-US" noProof="0" smtClean="0"/>
              <a:t>다섯째 수준</a:t>
            </a:r>
            <a:endParaRPr lang="en-GB" noProof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322C5EB3-8666-4CF6-8210-FD4E52E5C69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mkFld3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cxnSp>
        <p:nvCxnSpPr>
          <p:cNvPr id="5" name="Straight Connector 10"/>
          <p:cNvCxnSpPr>
            <a:cxnSpLocks noChangeShapeType="1"/>
          </p:cNvCxnSpPr>
          <p:nvPr userDrawn="1"/>
        </p:nvCxnSpPr>
        <p:spPr bwMode="auto">
          <a:xfrm>
            <a:off x="503238" y="5921375"/>
            <a:ext cx="8137525" cy="1588"/>
          </a:xfrm>
          <a:prstGeom prst="line">
            <a:avLst/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</p:cxnSp>
      <p:sp>
        <p:nvSpPr>
          <p:cNvPr id="6" name="bmkHeader"/>
          <p:cNvSpPr txBox="1"/>
          <p:nvPr userDrawn="1"/>
        </p:nvSpPr>
        <p:spPr>
          <a:xfrm>
            <a:off x="503238" y="255588"/>
            <a:ext cx="7632700" cy="165100"/>
          </a:xfrm>
          <a:prstGeom prst="rect">
            <a:avLst/>
          </a:prstGeom>
          <a:noFill/>
        </p:spPr>
        <p:txBody>
          <a:bodyPr lIns="0" tIns="0" rIns="0" bIns="0" anchor="b"/>
          <a:lstStyle/>
          <a:p>
            <a:pPr latinLnBrk="0">
              <a:defRPr/>
            </a:pPr>
            <a:endParaRPr kumimoji="0" lang="en-GB" sz="900" dirty="0">
              <a:solidFill>
                <a:srgbClr val="25397D"/>
              </a:solidFill>
              <a:ea typeface="+mn-ea"/>
            </a:endParaRPr>
          </a:p>
        </p:txBody>
      </p:sp>
      <p:sp>
        <p:nvSpPr>
          <p:cNvPr id="7" name="bmkFld3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noProof="0" smtClean="0"/>
              <a:t>마스터 제목 스타일 편집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lnSpc>
                <a:spcPts val="2160"/>
              </a:lnSpc>
              <a:spcBef>
                <a:spcPts val="0"/>
              </a:spcBef>
              <a:buNone/>
              <a:tabLst/>
              <a:defRPr sz="1800" baseline="0"/>
            </a:lvl1pPr>
            <a:lvl2pPr marL="0" indent="0">
              <a:lnSpc>
                <a:spcPts val="1920"/>
              </a:lnSpc>
              <a:spcBef>
                <a:spcPts val="0"/>
              </a:spcBef>
              <a:buNone/>
              <a:defRPr sz="1600" baseline="0"/>
            </a:lvl2pPr>
            <a:lvl3pPr marL="0" indent="0">
              <a:lnSpc>
                <a:spcPts val="1920"/>
              </a:lnSpc>
              <a:spcBef>
                <a:spcPts val="0"/>
              </a:spcBef>
              <a:buNone/>
              <a:tabLst/>
              <a:defRPr sz="1600" baseline="0"/>
            </a:lvl3pPr>
            <a:lvl4pPr marL="0" indent="0">
              <a:lnSpc>
                <a:spcPts val="1920"/>
              </a:lnSpc>
              <a:spcBef>
                <a:spcPts val="0"/>
              </a:spcBef>
              <a:buNone/>
              <a:defRPr sz="1600" baseline="0"/>
            </a:lvl4pPr>
            <a:lvl5pPr marL="0" indent="0">
              <a:lnSpc>
                <a:spcPts val="1920"/>
              </a:lnSpc>
              <a:spcBef>
                <a:spcPts val="0"/>
              </a:spcBef>
              <a:buNone/>
              <a:defRPr sz="1600" baseline="0"/>
            </a:lvl5pPr>
          </a:lstStyle>
          <a:p>
            <a:pPr lvl="0"/>
            <a:r>
              <a:rPr lang="ko-KR" altLang="en-US" noProof="0" smtClean="0"/>
              <a:t>마스터 텍스트 스타일을 편집합니다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4501C262-40D6-4E66-8E8F-5C67B9D91AD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mkFld4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cxnSp>
        <p:nvCxnSpPr>
          <p:cNvPr id="6" name="Straight Connector 11"/>
          <p:cNvCxnSpPr>
            <a:cxnSpLocks noChangeShapeType="1"/>
          </p:cNvCxnSpPr>
          <p:nvPr userDrawn="1"/>
        </p:nvCxnSpPr>
        <p:spPr bwMode="auto">
          <a:xfrm>
            <a:off x="503238" y="5921375"/>
            <a:ext cx="8137525" cy="1588"/>
          </a:xfrm>
          <a:prstGeom prst="line">
            <a:avLst/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</p:cxnSp>
      <p:sp>
        <p:nvSpPr>
          <p:cNvPr id="7" name="bmkHeader"/>
          <p:cNvSpPr txBox="1"/>
          <p:nvPr userDrawn="1"/>
        </p:nvSpPr>
        <p:spPr>
          <a:xfrm>
            <a:off x="503238" y="255588"/>
            <a:ext cx="7632700" cy="165100"/>
          </a:xfrm>
          <a:prstGeom prst="rect">
            <a:avLst/>
          </a:prstGeom>
          <a:noFill/>
        </p:spPr>
        <p:txBody>
          <a:bodyPr lIns="0" tIns="0" rIns="0" bIns="0" anchor="b"/>
          <a:lstStyle/>
          <a:p>
            <a:pPr latinLnBrk="0">
              <a:defRPr/>
            </a:pPr>
            <a:endParaRPr kumimoji="0" lang="en-GB" sz="900" dirty="0">
              <a:solidFill>
                <a:srgbClr val="25397D"/>
              </a:solidFill>
              <a:ea typeface="+mn-ea"/>
            </a:endParaRPr>
          </a:p>
        </p:txBody>
      </p:sp>
      <p:sp>
        <p:nvSpPr>
          <p:cNvPr id="8" name="bmkFld4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noProof="0" smtClean="0"/>
              <a:t>마스터 제목 스타일 편집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3999" y="1514475"/>
            <a:ext cx="3463200" cy="3986325"/>
          </a:xfrm>
        </p:spPr>
        <p:txBody>
          <a:bodyPr/>
          <a:lstStyle>
            <a:lvl1pPr marL="162000" indent="-162000">
              <a:tabLst/>
              <a:defRPr sz="1800"/>
            </a:lvl1pPr>
            <a:lvl2pPr marL="324000">
              <a:spcBef>
                <a:spcPts val="600"/>
              </a:spcBef>
              <a:tabLst/>
              <a:defRPr sz="1600"/>
            </a:lvl2pPr>
            <a:lvl3pPr marL="486000" indent="-162000">
              <a:spcBef>
                <a:spcPts val="600"/>
              </a:spcBef>
              <a:tabLst/>
              <a:defRPr sz="1600"/>
            </a:lvl3pPr>
            <a:lvl4pPr marL="648000">
              <a:spcBef>
                <a:spcPts val="600"/>
              </a:spcBef>
              <a:tabLst/>
              <a:defRPr sz="1600"/>
            </a:lvl4pPr>
            <a:lvl5pPr marL="810000" indent="-162000">
              <a:spcBef>
                <a:spcPts val="600"/>
              </a:spcBef>
              <a:tabLst/>
              <a:defRPr sz="1600" baseline="0"/>
            </a:lvl5pPr>
            <a:lvl6pPr marL="162000">
              <a:defRPr sz="1600"/>
            </a:lvl6pPr>
            <a:lvl7pPr marL="972000" indent="-162000">
              <a:spcBef>
                <a:spcPts val="600"/>
              </a:spcBef>
              <a:buSzPct val="85000"/>
              <a:tabLst/>
              <a:defRPr lang="en-US" sz="1600" baseline="0">
                <a:solidFill>
                  <a:schemeClr val="bg2"/>
                </a:solidFill>
                <a:latin typeface="+mn-lt"/>
              </a:defRPr>
            </a:lvl7pPr>
            <a:lvl8pPr marL="1134000" indent="-162000">
              <a:spcBef>
                <a:spcPts val="600"/>
              </a:spcBef>
              <a:buSzPct val="85000"/>
              <a:tabLst/>
              <a:defRPr lang="en-US" sz="1600" baseline="0">
                <a:solidFill>
                  <a:schemeClr val="bg2"/>
                </a:solidFill>
                <a:latin typeface="+mn-lt"/>
              </a:defRPr>
            </a:lvl8pPr>
            <a:lvl9pPr>
              <a:defRPr sz="1800"/>
            </a:lvl9pPr>
          </a:lstStyle>
          <a:p>
            <a:pPr lvl="0"/>
            <a:r>
              <a:rPr lang="ko-KR" altLang="en-US" noProof="0" smtClean="0"/>
              <a:t>마스터 텍스트 스타일을 편집합니다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셋째 수준</a:t>
            </a:r>
          </a:p>
          <a:p>
            <a:pPr lvl="3"/>
            <a:r>
              <a:rPr lang="ko-KR" altLang="en-US" noProof="0" smtClean="0"/>
              <a:t>넷째 수준</a:t>
            </a:r>
          </a:p>
          <a:p>
            <a:pPr lvl="4"/>
            <a:r>
              <a:rPr lang="ko-KR" altLang="en-US" noProof="0" smtClean="0"/>
              <a:t>다섯째 수준</a:t>
            </a:r>
            <a:endParaRPr lang="en-GB" noProof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1200" y="1514475"/>
            <a:ext cx="4168800" cy="3986325"/>
          </a:xfrm>
        </p:spPr>
        <p:txBody>
          <a:bodyPr/>
          <a:lstStyle>
            <a:lvl1pPr marL="162000">
              <a:defRPr sz="1800"/>
            </a:lvl1pPr>
            <a:lvl2pPr marL="324000">
              <a:spcBef>
                <a:spcPts val="600"/>
              </a:spcBef>
              <a:defRPr sz="1600"/>
            </a:lvl2pPr>
            <a:lvl3pPr marL="486000">
              <a:spcBef>
                <a:spcPts val="600"/>
              </a:spcBef>
              <a:defRPr sz="1600"/>
            </a:lvl3pPr>
            <a:lvl4pPr marL="648000">
              <a:spcBef>
                <a:spcPts val="600"/>
              </a:spcBef>
              <a:defRPr sz="1600"/>
            </a:lvl4pPr>
            <a:lvl5pPr marL="810000" indent="-162000">
              <a:spcBef>
                <a:spcPts val="600"/>
              </a:spcBef>
              <a:defRPr sz="1600"/>
            </a:lvl5pPr>
            <a:lvl6pPr marL="972000">
              <a:defRPr sz="1600"/>
            </a:lvl6pPr>
            <a:lvl7pPr>
              <a:buFont typeface="Arial" pitchFamily="34" charset="0"/>
              <a:buChar char="•"/>
              <a:defRPr lang="en-US" sz="1600" smtClean="0">
                <a:solidFill>
                  <a:schemeClr val="bg2"/>
                </a:solidFill>
                <a:latin typeface="+mn-lt"/>
              </a:defRPr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noProof="0" smtClean="0"/>
              <a:t>마스터 텍스트 스타일을 편집합니다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셋째 수준</a:t>
            </a:r>
          </a:p>
          <a:p>
            <a:pPr lvl="3"/>
            <a:r>
              <a:rPr lang="ko-KR" altLang="en-US" noProof="0" smtClean="0"/>
              <a:t>넷째 수준</a:t>
            </a:r>
          </a:p>
          <a:p>
            <a:pPr lvl="4"/>
            <a:r>
              <a:rPr lang="ko-KR" altLang="en-US" noProof="0" smtClean="0"/>
              <a:t>다섯째 수준</a:t>
            </a:r>
            <a:endParaRPr lang="en-GB" noProof="0" smtClean="0"/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058650C1-8650-4D2C-AC4D-7AB1A827365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mkFld5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cxnSp>
        <p:nvCxnSpPr>
          <p:cNvPr id="5" name="Straight Connector 10"/>
          <p:cNvCxnSpPr>
            <a:cxnSpLocks noChangeShapeType="1"/>
          </p:cNvCxnSpPr>
          <p:nvPr userDrawn="1"/>
        </p:nvCxnSpPr>
        <p:spPr bwMode="auto">
          <a:xfrm>
            <a:off x="503238" y="5921375"/>
            <a:ext cx="8137525" cy="1588"/>
          </a:xfrm>
          <a:prstGeom prst="line">
            <a:avLst/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</p:cxnSp>
      <p:sp>
        <p:nvSpPr>
          <p:cNvPr id="6" name="bmkHeader"/>
          <p:cNvSpPr txBox="1"/>
          <p:nvPr userDrawn="1"/>
        </p:nvSpPr>
        <p:spPr>
          <a:xfrm>
            <a:off x="503238" y="255588"/>
            <a:ext cx="7632700" cy="165100"/>
          </a:xfrm>
          <a:prstGeom prst="rect">
            <a:avLst/>
          </a:prstGeom>
          <a:noFill/>
        </p:spPr>
        <p:txBody>
          <a:bodyPr lIns="0" tIns="0" rIns="0" bIns="0" anchor="b"/>
          <a:lstStyle/>
          <a:p>
            <a:pPr latinLnBrk="0">
              <a:defRPr/>
            </a:pPr>
            <a:endParaRPr kumimoji="0" lang="en-GB" sz="900" dirty="0">
              <a:solidFill>
                <a:srgbClr val="25397D"/>
              </a:solidFill>
              <a:ea typeface="+mn-ea"/>
            </a:endParaRPr>
          </a:p>
        </p:txBody>
      </p:sp>
      <p:sp>
        <p:nvSpPr>
          <p:cNvPr id="8" name="bmkFld5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noProof="0" smtClean="0"/>
              <a:t>마스터 제목 스타일 편집</a:t>
            </a:r>
            <a:endParaRPr lang="en-GB" noProof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4000" y="1514475"/>
            <a:ext cx="8136000" cy="4407525"/>
          </a:xfrm>
        </p:spPr>
        <p:txBody>
          <a:bodyPr/>
          <a:lstStyle/>
          <a:p>
            <a:pPr lvl="0"/>
            <a:r>
              <a:rPr lang="ko-KR" altLang="en-US" noProof="0" dirty="0" smtClean="0"/>
              <a:t>그림을 추가하려면 아이콘을 클릭하십시오</a:t>
            </a:r>
            <a:endParaRPr lang="en-GB" noProof="0" dirty="0"/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F5192E69-D3D9-4A9B-B1EB-5A73E6D6DDF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 space for logo or department signa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mkFld6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cxnSp>
        <p:nvCxnSpPr>
          <p:cNvPr id="4" name="Straight Connector 9"/>
          <p:cNvCxnSpPr>
            <a:cxnSpLocks noChangeShapeType="1"/>
          </p:cNvCxnSpPr>
          <p:nvPr userDrawn="1"/>
        </p:nvCxnSpPr>
        <p:spPr bwMode="auto">
          <a:xfrm>
            <a:off x="503238" y="5921375"/>
            <a:ext cx="8137525" cy="1588"/>
          </a:xfrm>
          <a:prstGeom prst="line">
            <a:avLst/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</p:cxnSp>
      <p:sp>
        <p:nvSpPr>
          <p:cNvPr id="5" name="bmkHeader"/>
          <p:cNvSpPr txBox="1"/>
          <p:nvPr userDrawn="1"/>
        </p:nvSpPr>
        <p:spPr>
          <a:xfrm>
            <a:off x="503238" y="255588"/>
            <a:ext cx="7632700" cy="165100"/>
          </a:xfrm>
          <a:prstGeom prst="rect">
            <a:avLst/>
          </a:prstGeom>
          <a:noFill/>
        </p:spPr>
        <p:txBody>
          <a:bodyPr lIns="0" tIns="0" rIns="0" bIns="0" anchor="b"/>
          <a:lstStyle/>
          <a:p>
            <a:pPr latinLnBrk="0">
              <a:defRPr/>
            </a:pPr>
            <a:endParaRPr kumimoji="0" lang="en-GB" sz="900" dirty="0">
              <a:solidFill>
                <a:srgbClr val="25397D"/>
              </a:solidFill>
              <a:ea typeface="+mn-ea"/>
            </a:endParaRPr>
          </a:p>
        </p:txBody>
      </p:sp>
      <p:sp>
        <p:nvSpPr>
          <p:cNvPr id="7" name="bmkFld6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504000" y="936000"/>
            <a:ext cx="8136000" cy="4986000"/>
          </a:xfrm>
          <a:solidFill>
            <a:schemeClr val="bg2"/>
          </a:solidFill>
        </p:spPr>
        <p:txBody>
          <a:bodyPr/>
          <a:lstStyle/>
          <a:p>
            <a:pPr lvl="0"/>
            <a:r>
              <a:rPr lang="ko-KR" altLang="en-US" noProof="0" dirty="0" smtClean="0"/>
              <a:t>그림을 추가하려면 아이콘을 클릭하십시오</a:t>
            </a:r>
            <a:endParaRPr lang="en-GB" noProof="0" dirty="0"/>
          </a:p>
        </p:txBody>
      </p:sp>
      <p:sp>
        <p:nvSpPr>
          <p:cNvPr id="8" name="Slide Number Placehold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59A729B8-BE1E-4229-9441-43ABE7A52BE6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mkFld7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cxnSp>
        <p:nvCxnSpPr>
          <p:cNvPr id="4" name="Straight Connector 9"/>
          <p:cNvCxnSpPr>
            <a:cxnSpLocks noChangeShapeType="1"/>
          </p:cNvCxnSpPr>
          <p:nvPr userDrawn="1"/>
        </p:nvCxnSpPr>
        <p:spPr bwMode="auto">
          <a:xfrm>
            <a:off x="503238" y="5921375"/>
            <a:ext cx="8137525" cy="1588"/>
          </a:xfrm>
          <a:prstGeom prst="line">
            <a:avLst/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</p:cxnSp>
      <p:sp>
        <p:nvSpPr>
          <p:cNvPr id="5" name="bmkFld7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504000" y="504000"/>
            <a:ext cx="8136000" cy="5418000"/>
          </a:xfrm>
        </p:spPr>
        <p:txBody>
          <a:bodyPr/>
          <a:lstStyle/>
          <a:p>
            <a:pPr lvl="0"/>
            <a:r>
              <a:rPr lang="ko-KR" altLang="en-US" noProof="0" dirty="0" smtClean="0"/>
              <a:t>그림을 추가하려면 아이콘을 클릭하십시오</a:t>
            </a:r>
            <a:endParaRPr lang="en-GB" noProof="0" dirty="0"/>
          </a:p>
        </p:txBody>
      </p:sp>
      <p:sp>
        <p:nvSpPr>
          <p:cNvPr id="7" name="Slide Number Placehold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A57DB2B6-0672-41B4-A96F-DB6F7213D450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mkFld8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cxnSp>
        <p:nvCxnSpPr>
          <p:cNvPr id="4" name="Straight Connector 9"/>
          <p:cNvCxnSpPr>
            <a:cxnSpLocks noChangeShapeType="1"/>
          </p:cNvCxnSpPr>
          <p:nvPr userDrawn="1"/>
        </p:nvCxnSpPr>
        <p:spPr bwMode="auto">
          <a:xfrm>
            <a:off x="503238" y="5921375"/>
            <a:ext cx="8137525" cy="1588"/>
          </a:xfrm>
          <a:prstGeom prst="line">
            <a:avLst/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</p:cxnSp>
      <p:sp>
        <p:nvSpPr>
          <p:cNvPr id="5" name="bmkHeader"/>
          <p:cNvSpPr txBox="1"/>
          <p:nvPr userDrawn="1"/>
        </p:nvSpPr>
        <p:spPr>
          <a:xfrm>
            <a:off x="503238" y="255588"/>
            <a:ext cx="7632700" cy="165100"/>
          </a:xfrm>
          <a:prstGeom prst="rect">
            <a:avLst/>
          </a:prstGeom>
          <a:noFill/>
        </p:spPr>
        <p:txBody>
          <a:bodyPr lIns="0" tIns="0" rIns="0" bIns="0" anchor="b"/>
          <a:lstStyle/>
          <a:p>
            <a:pPr latinLnBrk="0">
              <a:defRPr/>
            </a:pPr>
            <a:endParaRPr kumimoji="0" lang="en-GB" sz="900" dirty="0">
              <a:solidFill>
                <a:srgbClr val="25397D"/>
              </a:solidFill>
              <a:ea typeface="+mn-ea"/>
            </a:endParaRPr>
          </a:p>
        </p:txBody>
      </p:sp>
      <p:sp>
        <p:nvSpPr>
          <p:cNvPr id="6" name="bmkFld8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noProof="0" smtClean="0"/>
              <a:t>마스터 제목 스타일 편집</a:t>
            </a:r>
            <a:endParaRPr lang="en-GB" noProof="0"/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8DB7A93F-99E2-406B-9405-5CBE4D0E155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mkFld9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cxnSp>
        <p:nvCxnSpPr>
          <p:cNvPr id="3" name="Straight Connector 7"/>
          <p:cNvCxnSpPr>
            <a:cxnSpLocks noChangeShapeType="1"/>
          </p:cNvCxnSpPr>
          <p:nvPr userDrawn="1"/>
        </p:nvCxnSpPr>
        <p:spPr bwMode="auto">
          <a:xfrm>
            <a:off x="503238" y="5921375"/>
            <a:ext cx="8137525" cy="1588"/>
          </a:xfrm>
          <a:prstGeom prst="line">
            <a:avLst/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</p:cxnSp>
      <p:sp>
        <p:nvSpPr>
          <p:cNvPr id="4" name="bmkHeader"/>
          <p:cNvSpPr txBox="1"/>
          <p:nvPr userDrawn="1"/>
        </p:nvSpPr>
        <p:spPr>
          <a:xfrm>
            <a:off x="503238" y="255588"/>
            <a:ext cx="7632700" cy="165100"/>
          </a:xfrm>
          <a:prstGeom prst="rect">
            <a:avLst/>
          </a:prstGeom>
          <a:noFill/>
        </p:spPr>
        <p:txBody>
          <a:bodyPr lIns="0" tIns="0" rIns="0" bIns="0" anchor="b"/>
          <a:lstStyle/>
          <a:p>
            <a:pPr latinLnBrk="0">
              <a:defRPr/>
            </a:pPr>
            <a:endParaRPr kumimoji="0" lang="en-GB" sz="900" dirty="0">
              <a:solidFill>
                <a:srgbClr val="25397D"/>
              </a:solidFill>
              <a:ea typeface="+mn-ea"/>
            </a:endParaRPr>
          </a:p>
        </p:txBody>
      </p:sp>
      <p:sp>
        <p:nvSpPr>
          <p:cNvPr id="5" name="bmkFld9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E7FD0E5C-533B-40D1-A7CF-018BD340803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slide corpor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mkFld11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4" name="bmkFld10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3999" y="5036400"/>
            <a:ext cx="7632000" cy="763200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ko-KR" altLang="en-US" noProof="0" smtClean="0"/>
              <a:t>마스터 제목 스타일 편집</a:t>
            </a:r>
            <a:endParaRPr lang="en-GB" noProof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FA08881B-5659-44CB-B7B0-3D75503B7E9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slide business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mkFld12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4" name="bmkFld11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3999" y="4845600"/>
            <a:ext cx="7632000" cy="763200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ko-KR" altLang="en-US" noProof="0" smtClean="0"/>
              <a:t>마스터 제목 스타일 편집</a:t>
            </a:r>
            <a:endParaRPr lang="en-GB" noProof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D087FB5D-AAD9-410D-8A37-C2730C9E5417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with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7" descr="Bundostomy"/>
          <p:cNvPicPr>
            <a:picLocks noChangeAspect="1" noChangeArrowheads="1"/>
          </p:cNvPicPr>
          <p:nvPr/>
        </p:nvPicPr>
        <p:blipFill>
          <a:blip r:embed="rId2" cstate="print"/>
          <a:srcRect l="69656" t="75000" r="79"/>
          <a:stretch>
            <a:fillRect/>
          </a:stretch>
        </p:blipFill>
        <p:spPr bwMode="auto">
          <a:xfrm>
            <a:off x="6372225" y="6381750"/>
            <a:ext cx="2768600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34963" y="6292850"/>
            <a:ext cx="124618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6" name="Straight Connector 7"/>
          <p:cNvCxnSpPr>
            <a:cxnSpLocks noChangeShapeType="1"/>
          </p:cNvCxnSpPr>
          <p:nvPr userDrawn="1"/>
        </p:nvCxnSpPr>
        <p:spPr bwMode="auto">
          <a:xfrm>
            <a:off x="503238" y="5921375"/>
            <a:ext cx="8137525" cy="1588"/>
          </a:xfrm>
          <a:prstGeom prst="line">
            <a:avLst/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</p:cxnSp>
      <p:sp>
        <p:nvSpPr>
          <p:cNvPr id="7" name="bmkFld2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chemeClr val="bg2"/>
              </a:solidFill>
              <a:ea typeface="+mn-ea"/>
            </a:endParaRPr>
          </a:p>
        </p:txBody>
      </p:sp>
      <p:sp>
        <p:nvSpPr>
          <p:cNvPr id="8" name="bmkHeader"/>
          <p:cNvSpPr txBox="1"/>
          <p:nvPr userDrawn="1"/>
        </p:nvSpPr>
        <p:spPr>
          <a:xfrm>
            <a:off x="503238" y="255588"/>
            <a:ext cx="7632700" cy="165100"/>
          </a:xfrm>
          <a:prstGeom prst="rect">
            <a:avLst/>
          </a:prstGeom>
          <a:noFill/>
        </p:spPr>
        <p:txBody>
          <a:bodyPr lIns="0" tIns="0" rIns="0" bIns="0" anchor="b"/>
          <a:lstStyle/>
          <a:p>
            <a:pPr latinLnBrk="0">
              <a:defRPr/>
            </a:pPr>
            <a:endParaRPr kumimoji="0" lang="en-GB" sz="900" dirty="0">
              <a:solidFill>
                <a:schemeClr val="tx2"/>
              </a:solidFill>
              <a:ea typeface="+mn-ea"/>
            </a:endParaRPr>
          </a:p>
        </p:txBody>
      </p:sp>
      <p:sp>
        <p:nvSpPr>
          <p:cNvPr id="9" name="bmkFld2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chemeClr val="bg2"/>
              </a:solidFill>
              <a:ea typeface="+mn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noProof="0" smtClean="0"/>
              <a:t>마스터 제목 스타일 편집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  <a:lvl6pPr>
              <a:defRPr baseline="0"/>
            </a:lvl6pPr>
            <a:lvl7pPr>
              <a:buFont typeface="Arial" pitchFamily="34" charset="0"/>
              <a:buChar char="•"/>
              <a:defRPr baseline="0"/>
            </a:lvl7pPr>
          </a:lstStyle>
          <a:p>
            <a:pPr lvl="0"/>
            <a:r>
              <a:rPr lang="ko-KR" altLang="en-US" noProof="0" smtClean="0"/>
              <a:t>마스터 텍스트 스타일을 편집합니다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셋째 수준</a:t>
            </a:r>
          </a:p>
          <a:p>
            <a:pPr lvl="3"/>
            <a:r>
              <a:rPr lang="ko-KR" altLang="en-US" noProof="0" smtClean="0"/>
              <a:t>넷째 수준</a:t>
            </a:r>
          </a:p>
          <a:p>
            <a:pPr lvl="4"/>
            <a:r>
              <a:rPr lang="ko-KR" altLang="en-US" noProof="0" smtClean="0"/>
              <a:t>다섯째 수준</a:t>
            </a:r>
            <a:endParaRPr lang="en-GB" noProof="0"/>
          </a:p>
        </p:txBody>
      </p:sp>
      <p:sp>
        <p:nvSpPr>
          <p:cNvPr id="10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9404DF7B-B977-4415-90AA-AEDE5FFBCA4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bullets for colored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/>
          <p:nvPr userDrawn="1"/>
        </p:nvSpPr>
        <p:spPr bwMode="auto">
          <a:xfrm>
            <a:off x="0" y="0"/>
            <a:ext cx="8640763" cy="59213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/>
          <a:lstStyle/>
          <a:p>
            <a:pPr latinLnBrk="0">
              <a:defRPr/>
            </a:pPr>
            <a:endParaRPr kumimoji="0" lang="en-GB" dirty="0">
              <a:solidFill>
                <a:srgbClr val="000000"/>
              </a:solidFill>
              <a:ea typeface="+mn-ea"/>
            </a:endParaRPr>
          </a:p>
        </p:txBody>
      </p:sp>
      <p:sp>
        <p:nvSpPr>
          <p:cNvPr id="5" name="bmkFld13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6" name="bmkFld12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503999" y="1514474"/>
            <a:ext cx="7632000" cy="39143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ko-KR" altLang="en-US" noProof="0" smtClean="0"/>
              <a:t>마스터 텍스트 스타일을 편집합니다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셋째 수준</a:t>
            </a:r>
          </a:p>
          <a:p>
            <a:pPr lvl="3"/>
            <a:r>
              <a:rPr lang="ko-KR" altLang="en-US" noProof="0" smtClean="0"/>
              <a:t>넷째 수준</a:t>
            </a:r>
          </a:p>
          <a:p>
            <a:pPr lvl="4"/>
            <a:r>
              <a:rPr lang="ko-KR" altLang="en-US" noProof="0" smtClean="0"/>
              <a:t>다섯째 수준</a:t>
            </a:r>
            <a:endParaRPr lang="en-GB" noProof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503999" y="616023"/>
            <a:ext cx="7632000" cy="626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ko-KR" altLang="en-US" noProof="0" smtClean="0"/>
              <a:t>마스터 제목 스타일 편집</a:t>
            </a:r>
            <a:endParaRPr lang="en-GB" noProof="0"/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0B7D61B3-5D01-42A0-BB33-A94EB5FE8770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for colored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/>
          <p:nvPr userDrawn="1"/>
        </p:nvSpPr>
        <p:spPr bwMode="auto">
          <a:xfrm>
            <a:off x="0" y="0"/>
            <a:ext cx="8640763" cy="59213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/>
          <a:lstStyle/>
          <a:p>
            <a:pPr latinLnBrk="0">
              <a:defRPr/>
            </a:pPr>
            <a:endParaRPr kumimoji="0" lang="en-GB" dirty="0">
              <a:solidFill>
                <a:srgbClr val="000000"/>
              </a:solidFill>
              <a:ea typeface="+mn-ea"/>
            </a:endParaRPr>
          </a:p>
        </p:txBody>
      </p:sp>
      <p:sp>
        <p:nvSpPr>
          <p:cNvPr id="5" name="bmkFld14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6" name="bmkFld13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503999" y="1514474"/>
            <a:ext cx="7632000" cy="3914325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ko-KR" altLang="en-US" noProof="0" smtClean="0"/>
              <a:t>마스터 텍스트 스타일을 편집합니다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셋째 수준</a:t>
            </a:r>
          </a:p>
          <a:p>
            <a:pPr lvl="3"/>
            <a:r>
              <a:rPr lang="ko-KR" altLang="en-US" noProof="0" smtClean="0"/>
              <a:t>넷째 수준</a:t>
            </a:r>
          </a:p>
          <a:p>
            <a:pPr lvl="4"/>
            <a:r>
              <a:rPr lang="ko-KR" altLang="en-US" noProof="0" smtClean="0"/>
              <a:t>다섯째 수준</a:t>
            </a:r>
            <a:endParaRPr lang="en-GB" noProof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503999" y="616023"/>
            <a:ext cx="7632000" cy="626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ko-KR" altLang="en-US" noProof="0" smtClean="0"/>
              <a:t>마스터 제목 스타일 편집</a:t>
            </a:r>
            <a:endParaRPr lang="en-GB" noProof="0"/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ED535390-058A-4CF5-9F32-2F0E99769957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ion-Health-Histo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mkFld15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3" name="bmkFld14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37F04341-9736-4966-BB9B-064D3646B8A5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itle two conten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12"/>
          <p:cNvCxnSpPr>
            <a:cxnSpLocks noChangeShapeType="1"/>
          </p:cNvCxnSpPr>
          <p:nvPr userDrawn="1"/>
        </p:nvCxnSpPr>
        <p:spPr bwMode="auto">
          <a:xfrm>
            <a:off x="503238" y="5921375"/>
            <a:ext cx="8137525" cy="1588"/>
          </a:xfrm>
          <a:prstGeom prst="line">
            <a:avLst/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</p:cxnSp>
      <p:sp>
        <p:nvSpPr>
          <p:cNvPr id="8" name="bmkFld16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9" name="bmkHeader"/>
          <p:cNvSpPr txBox="1"/>
          <p:nvPr userDrawn="1"/>
        </p:nvSpPr>
        <p:spPr>
          <a:xfrm>
            <a:off x="503238" y="255588"/>
            <a:ext cx="7632700" cy="165100"/>
          </a:xfrm>
          <a:prstGeom prst="rect">
            <a:avLst/>
          </a:prstGeom>
          <a:noFill/>
        </p:spPr>
        <p:txBody>
          <a:bodyPr lIns="0" tIns="0" rIns="0" bIns="0" anchor="b"/>
          <a:lstStyle/>
          <a:p>
            <a:pPr latinLnBrk="0">
              <a:defRPr/>
            </a:pPr>
            <a:endParaRPr kumimoji="0" lang="en-GB" sz="900" dirty="0">
              <a:solidFill>
                <a:srgbClr val="25397D"/>
              </a:solidFill>
              <a:ea typeface="+mn-ea"/>
            </a:endParaRPr>
          </a:p>
        </p:txBody>
      </p:sp>
      <p:sp>
        <p:nvSpPr>
          <p:cNvPr id="10" name="bmkFld15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 noProof="0" smtClean="0"/>
              <a:t>마스터 제목 스타일 편집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4000" y="1535113"/>
            <a:ext cx="3826800" cy="536565"/>
          </a:xfrm>
        </p:spPr>
        <p:txBody>
          <a:bodyPr anchor="b"/>
          <a:lstStyle>
            <a:lvl1pPr marL="0" indent="0">
              <a:lnSpc>
                <a:spcPts val="2300"/>
              </a:lnSpc>
              <a:spcBef>
                <a:spcPts val="0"/>
              </a:spcBef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noProof="0" smtClean="0"/>
              <a:t>마스터 텍스트 스타일을 편집합니다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999" y="2174875"/>
            <a:ext cx="3826800" cy="333098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noProof="0" smtClean="0"/>
              <a:t>마스터 텍스트 스타일을 편집합니다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셋째 수준</a:t>
            </a:r>
          </a:p>
          <a:p>
            <a:pPr lvl="3"/>
            <a:r>
              <a:rPr lang="ko-KR" altLang="en-US" noProof="0" smtClean="0"/>
              <a:t>넷째 수준</a:t>
            </a:r>
          </a:p>
          <a:p>
            <a:pPr lvl="4"/>
            <a:r>
              <a:rPr lang="ko-KR" altLang="en-US" noProof="0" smtClean="0"/>
              <a:t>다섯째 수준</a:t>
            </a:r>
            <a:endParaRPr lang="en-GB" noProof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95200" y="1535113"/>
            <a:ext cx="3826800" cy="536400"/>
          </a:xfrm>
        </p:spPr>
        <p:txBody>
          <a:bodyPr anchor="b"/>
          <a:lstStyle>
            <a:lvl1pPr marL="0" indent="0">
              <a:lnSpc>
                <a:spcPts val="2300"/>
              </a:lnSpc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noProof="0" smtClean="0"/>
              <a:t>마스터 텍스트 스타일을 편집합니다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95200" y="2174875"/>
            <a:ext cx="3826800" cy="33300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noProof="0" smtClean="0"/>
              <a:t>마스터 텍스트 스타일을 편집합니다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셋째 수준</a:t>
            </a:r>
          </a:p>
          <a:p>
            <a:pPr lvl="3"/>
            <a:r>
              <a:rPr lang="ko-KR" altLang="en-US" noProof="0" smtClean="0"/>
              <a:t>넷째 수준</a:t>
            </a:r>
          </a:p>
          <a:p>
            <a:pPr lvl="4"/>
            <a:r>
              <a:rPr lang="ko-KR" altLang="en-US" noProof="0" smtClean="0"/>
              <a:t>다섯째 수준</a:t>
            </a:r>
            <a:endParaRPr lang="en-GB" noProof="0"/>
          </a:p>
        </p:txBody>
      </p:sp>
      <p:sp>
        <p:nvSpPr>
          <p:cNvPr id="11" name="Slide Number Placeholder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9EF20EEE-D1E5-4634-B6A2-13674B7F82F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rpor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mkFPPicture" descr="Coloplast_Nature_Abstracts_02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8640763" cy="5919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3"/>
          <p:cNvSpPr/>
          <p:nvPr userDrawn="1"/>
        </p:nvSpPr>
        <p:spPr bwMode="auto">
          <a:xfrm>
            <a:off x="0" y="4381500"/>
            <a:ext cx="8640763" cy="1539875"/>
          </a:xfrm>
          <a:prstGeom prst="rect">
            <a:avLst/>
          </a:prstGeom>
          <a:solidFill>
            <a:srgbClr val="00B0CA">
              <a:alpha val="8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/>
          <a:lstStyle/>
          <a:p>
            <a:pPr latinLnBrk="0">
              <a:defRPr/>
            </a:pPr>
            <a:endParaRPr kumimoji="0" lang="en-GB" dirty="0">
              <a:solidFill>
                <a:srgbClr val="000000"/>
              </a:solidFill>
              <a:ea typeface="+mn-ea"/>
            </a:endParaRPr>
          </a:p>
        </p:txBody>
      </p:sp>
      <p:sp>
        <p:nvSpPr>
          <p:cNvPr id="6" name="bmkFldName"/>
          <p:cNvSpPr txBox="1"/>
          <p:nvPr userDrawn="1"/>
        </p:nvSpPr>
        <p:spPr>
          <a:xfrm>
            <a:off x="503238" y="5489575"/>
            <a:ext cx="7632700" cy="24606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1600" dirty="0">
              <a:solidFill>
                <a:srgbClr val="FFFFFF"/>
              </a:solidFill>
              <a:ea typeface="+mn-ea"/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03238" y="6173788"/>
            <a:ext cx="124618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bmkFld10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9" name="bmkHeader"/>
          <p:cNvSpPr txBox="1"/>
          <p:nvPr userDrawn="1"/>
        </p:nvSpPr>
        <p:spPr>
          <a:xfrm>
            <a:off x="503238" y="255588"/>
            <a:ext cx="7632700" cy="165100"/>
          </a:xfrm>
          <a:prstGeom prst="rect">
            <a:avLst/>
          </a:prstGeom>
          <a:noFill/>
        </p:spPr>
        <p:txBody>
          <a:bodyPr lIns="0" tIns="0" rIns="0" bIns="0" anchor="b"/>
          <a:lstStyle/>
          <a:p>
            <a:pPr latinLnBrk="0">
              <a:defRPr/>
            </a:pPr>
            <a:endParaRPr kumimoji="0" lang="en-GB" sz="900" dirty="0">
              <a:solidFill>
                <a:srgbClr val="00B0CA"/>
              </a:solidFill>
              <a:ea typeface="+mn-ea"/>
            </a:endParaRPr>
          </a:p>
        </p:txBody>
      </p:sp>
      <p:sp>
        <p:nvSpPr>
          <p:cNvPr id="10" name="bmkFld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pic>
        <p:nvPicPr>
          <p:cNvPr id="11" name="Picture 18" descr="6CPlogo_Blue_RGB_PP_41.png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167563" y="6167438"/>
            <a:ext cx="1476375" cy="331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8" name="Title 4097"/>
          <p:cNvSpPr>
            <a:spLocks noGrp="1" noChangeArrowheads="1"/>
          </p:cNvSpPr>
          <p:nvPr>
            <p:ph type="ctrTitle"/>
          </p:nvPr>
        </p:nvSpPr>
        <p:spPr>
          <a:xfrm>
            <a:off x="504000" y="4561200"/>
            <a:ext cx="7632000" cy="360000"/>
          </a:xfrm>
        </p:spPr>
        <p:txBody>
          <a:bodyPr/>
          <a:lstStyle>
            <a:lvl1pPr>
              <a:lnSpc>
                <a:spcPts val="29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altLang="ko-KR" noProof="0" smtClean="0"/>
              <a:t>Click to edit Master title style</a:t>
            </a:r>
            <a:endParaRPr lang="en-GB" noProof="0"/>
          </a:p>
        </p:txBody>
      </p:sp>
      <p:sp>
        <p:nvSpPr>
          <p:cNvPr id="4099" name="Subtitle 4098"/>
          <p:cNvSpPr>
            <a:spLocks noGrp="1" noChangeArrowheads="1"/>
          </p:cNvSpPr>
          <p:nvPr>
            <p:ph type="subTitle" idx="1"/>
          </p:nvPr>
        </p:nvSpPr>
        <p:spPr>
          <a:xfrm>
            <a:off x="504000" y="4939200"/>
            <a:ext cx="7632000" cy="360000"/>
          </a:xfrm>
        </p:spPr>
        <p:txBody>
          <a:bodyPr/>
          <a:lstStyle>
            <a:lvl1pPr marL="0" indent="0">
              <a:lnSpc>
                <a:spcPts val="1900"/>
              </a:lnSpc>
              <a:spcBef>
                <a:spcPct val="0"/>
              </a:spcBef>
              <a:buFontTx/>
              <a:buNone/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en-US" altLang="ko-KR" noProof="0" smtClean="0"/>
              <a:t>Click to edit Master subtitle style</a:t>
            </a:r>
            <a:endParaRPr lang="en-GB" noProof="0"/>
          </a:p>
        </p:txBody>
      </p:sp>
      <p:sp>
        <p:nvSpPr>
          <p:cNvPr id="12" name="Rectangle 3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2303463" y="6397625"/>
            <a:ext cx="1152525" cy="1016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F65AF18E-7911-48E5-978A-CD6BA4CCEB3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>
            <a:cxnSpLocks noChangeShapeType="1"/>
          </p:cNvCxnSpPr>
          <p:nvPr userDrawn="1"/>
        </p:nvCxnSpPr>
        <p:spPr bwMode="auto">
          <a:xfrm>
            <a:off x="503238" y="5921375"/>
            <a:ext cx="8137525" cy="1588"/>
          </a:xfrm>
          <a:prstGeom prst="line">
            <a:avLst/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</p:cxnSp>
      <p:sp>
        <p:nvSpPr>
          <p:cNvPr id="5" name="bmkFld2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6" name="bmkHeader"/>
          <p:cNvSpPr txBox="1"/>
          <p:nvPr userDrawn="1"/>
        </p:nvSpPr>
        <p:spPr>
          <a:xfrm>
            <a:off x="503238" y="255588"/>
            <a:ext cx="7632700" cy="165100"/>
          </a:xfrm>
          <a:prstGeom prst="rect">
            <a:avLst/>
          </a:prstGeom>
          <a:noFill/>
        </p:spPr>
        <p:txBody>
          <a:bodyPr lIns="0" tIns="0" rIns="0" bIns="0" anchor="b"/>
          <a:lstStyle/>
          <a:p>
            <a:pPr latinLnBrk="0">
              <a:defRPr/>
            </a:pPr>
            <a:endParaRPr kumimoji="0" lang="en-GB" sz="900" dirty="0">
              <a:solidFill>
                <a:srgbClr val="00B0CA"/>
              </a:solidFill>
              <a:ea typeface="+mn-ea"/>
            </a:endParaRPr>
          </a:p>
        </p:txBody>
      </p:sp>
      <p:sp>
        <p:nvSpPr>
          <p:cNvPr id="7" name="bmkFld2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noProof="0" smtClean="0"/>
              <a:t>마스터 제목 스타일 편집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  <a:lvl6pPr>
              <a:defRPr baseline="0"/>
            </a:lvl6pPr>
            <a:lvl7pPr>
              <a:buFont typeface="Arial" pitchFamily="34" charset="0"/>
              <a:buChar char="•"/>
              <a:defRPr baseline="0"/>
            </a:lvl7pPr>
          </a:lstStyle>
          <a:p>
            <a:pPr lvl="0"/>
            <a:r>
              <a:rPr lang="ko-KR" altLang="en-US" noProof="0" smtClean="0"/>
              <a:t>마스터 텍스트 스타일을 편집합니다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셋째 수준</a:t>
            </a:r>
          </a:p>
          <a:p>
            <a:pPr lvl="3"/>
            <a:r>
              <a:rPr lang="ko-KR" altLang="en-US" noProof="0" smtClean="0"/>
              <a:t>넷째 수준</a:t>
            </a:r>
          </a:p>
          <a:p>
            <a:pPr lvl="4"/>
            <a:r>
              <a:rPr lang="ko-KR" altLang="en-US" noProof="0" smtClean="0"/>
              <a:t>다섯째 수준</a:t>
            </a:r>
            <a:endParaRPr lang="en-GB" noProof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0929D52C-28CD-46D0-899E-98A80E5E921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mkFld3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cxnSp>
        <p:nvCxnSpPr>
          <p:cNvPr id="5" name="Straight Connector 10"/>
          <p:cNvCxnSpPr>
            <a:cxnSpLocks noChangeShapeType="1"/>
          </p:cNvCxnSpPr>
          <p:nvPr userDrawn="1"/>
        </p:nvCxnSpPr>
        <p:spPr bwMode="auto">
          <a:xfrm>
            <a:off x="503238" y="5921375"/>
            <a:ext cx="8137525" cy="1588"/>
          </a:xfrm>
          <a:prstGeom prst="line">
            <a:avLst/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</p:cxnSp>
      <p:sp>
        <p:nvSpPr>
          <p:cNvPr id="6" name="bmkHeader"/>
          <p:cNvSpPr txBox="1"/>
          <p:nvPr userDrawn="1"/>
        </p:nvSpPr>
        <p:spPr>
          <a:xfrm>
            <a:off x="503238" y="255588"/>
            <a:ext cx="7632700" cy="165100"/>
          </a:xfrm>
          <a:prstGeom prst="rect">
            <a:avLst/>
          </a:prstGeom>
          <a:noFill/>
        </p:spPr>
        <p:txBody>
          <a:bodyPr lIns="0" tIns="0" rIns="0" bIns="0" anchor="b"/>
          <a:lstStyle/>
          <a:p>
            <a:pPr latinLnBrk="0">
              <a:defRPr/>
            </a:pPr>
            <a:endParaRPr kumimoji="0" lang="en-GB" sz="900" dirty="0">
              <a:solidFill>
                <a:srgbClr val="00B0CA"/>
              </a:solidFill>
              <a:ea typeface="+mn-ea"/>
            </a:endParaRPr>
          </a:p>
        </p:txBody>
      </p:sp>
      <p:sp>
        <p:nvSpPr>
          <p:cNvPr id="7" name="bmkFld3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noProof="0" smtClean="0"/>
              <a:t>마스터 제목 스타일 편집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lnSpc>
                <a:spcPts val="2160"/>
              </a:lnSpc>
              <a:spcBef>
                <a:spcPts val="0"/>
              </a:spcBef>
              <a:buNone/>
              <a:tabLst/>
              <a:defRPr sz="1800" baseline="0"/>
            </a:lvl1pPr>
            <a:lvl2pPr marL="0" indent="0">
              <a:lnSpc>
                <a:spcPts val="1920"/>
              </a:lnSpc>
              <a:spcBef>
                <a:spcPts val="0"/>
              </a:spcBef>
              <a:buNone/>
              <a:defRPr sz="1600" baseline="0"/>
            </a:lvl2pPr>
            <a:lvl3pPr marL="0" indent="0">
              <a:lnSpc>
                <a:spcPts val="1920"/>
              </a:lnSpc>
              <a:spcBef>
                <a:spcPts val="0"/>
              </a:spcBef>
              <a:buNone/>
              <a:tabLst/>
              <a:defRPr sz="1600" baseline="0"/>
            </a:lvl3pPr>
            <a:lvl4pPr marL="0" indent="0">
              <a:lnSpc>
                <a:spcPts val="1920"/>
              </a:lnSpc>
              <a:spcBef>
                <a:spcPts val="0"/>
              </a:spcBef>
              <a:buNone/>
              <a:defRPr sz="1600" baseline="0"/>
            </a:lvl4pPr>
            <a:lvl5pPr marL="0" indent="0">
              <a:lnSpc>
                <a:spcPts val="1920"/>
              </a:lnSpc>
              <a:spcBef>
                <a:spcPts val="0"/>
              </a:spcBef>
              <a:buNone/>
              <a:defRPr sz="1600" baseline="0"/>
            </a:lvl5pPr>
          </a:lstStyle>
          <a:p>
            <a:pPr lvl="0"/>
            <a:r>
              <a:rPr lang="ko-KR" altLang="en-US" noProof="0" smtClean="0"/>
              <a:t>마스터 텍스트 스타일을 편집합니다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1D335C8A-61F4-4E63-A3E3-BDCBA2CA7DC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mkFld4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cxnSp>
        <p:nvCxnSpPr>
          <p:cNvPr id="6" name="Straight Connector 11"/>
          <p:cNvCxnSpPr>
            <a:cxnSpLocks noChangeShapeType="1"/>
          </p:cNvCxnSpPr>
          <p:nvPr userDrawn="1"/>
        </p:nvCxnSpPr>
        <p:spPr bwMode="auto">
          <a:xfrm>
            <a:off x="503238" y="5921375"/>
            <a:ext cx="8137525" cy="1588"/>
          </a:xfrm>
          <a:prstGeom prst="line">
            <a:avLst/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</p:cxnSp>
      <p:sp>
        <p:nvSpPr>
          <p:cNvPr id="7" name="bmkHeader"/>
          <p:cNvSpPr txBox="1"/>
          <p:nvPr userDrawn="1"/>
        </p:nvSpPr>
        <p:spPr>
          <a:xfrm>
            <a:off x="503238" y="255588"/>
            <a:ext cx="7632700" cy="165100"/>
          </a:xfrm>
          <a:prstGeom prst="rect">
            <a:avLst/>
          </a:prstGeom>
          <a:noFill/>
        </p:spPr>
        <p:txBody>
          <a:bodyPr lIns="0" tIns="0" rIns="0" bIns="0" anchor="b"/>
          <a:lstStyle/>
          <a:p>
            <a:pPr latinLnBrk="0">
              <a:defRPr/>
            </a:pPr>
            <a:endParaRPr kumimoji="0" lang="en-GB" sz="900" dirty="0">
              <a:solidFill>
                <a:srgbClr val="00B0CA"/>
              </a:solidFill>
              <a:ea typeface="+mn-ea"/>
            </a:endParaRPr>
          </a:p>
        </p:txBody>
      </p:sp>
      <p:sp>
        <p:nvSpPr>
          <p:cNvPr id="8" name="bmkFld4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noProof="0" smtClean="0"/>
              <a:t>마스터 제목 스타일 편집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3999" y="1514475"/>
            <a:ext cx="3463200" cy="3986325"/>
          </a:xfrm>
        </p:spPr>
        <p:txBody>
          <a:bodyPr/>
          <a:lstStyle>
            <a:lvl1pPr marL="162000" indent="-162000">
              <a:tabLst/>
              <a:defRPr sz="1800"/>
            </a:lvl1pPr>
            <a:lvl2pPr marL="324000">
              <a:spcBef>
                <a:spcPts val="600"/>
              </a:spcBef>
              <a:tabLst/>
              <a:defRPr sz="1600"/>
            </a:lvl2pPr>
            <a:lvl3pPr marL="486000" indent="-162000">
              <a:spcBef>
                <a:spcPts val="600"/>
              </a:spcBef>
              <a:tabLst/>
              <a:defRPr sz="1600"/>
            </a:lvl3pPr>
            <a:lvl4pPr marL="648000">
              <a:spcBef>
                <a:spcPts val="600"/>
              </a:spcBef>
              <a:tabLst/>
              <a:defRPr sz="1600"/>
            </a:lvl4pPr>
            <a:lvl5pPr marL="810000" indent="-162000">
              <a:spcBef>
                <a:spcPts val="600"/>
              </a:spcBef>
              <a:tabLst/>
              <a:defRPr sz="1600" baseline="0"/>
            </a:lvl5pPr>
            <a:lvl6pPr marL="162000">
              <a:defRPr sz="1600"/>
            </a:lvl6pPr>
            <a:lvl7pPr marL="972000" indent="-162000">
              <a:spcBef>
                <a:spcPts val="600"/>
              </a:spcBef>
              <a:buSzPct val="85000"/>
              <a:tabLst/>
              <a:defRPr lang="en-US" sz="1600" baseline="0">
                <a:solidFill>
                  <a:schemeClr val="bg2"/>
                </a:solidFill>
                <a:latin typeface="+mn-lt"/>
              </a:defRPr>
            </a:lvl7pPr>
            <a:lvl8pPr marL="1134000" indent="-162000">
              <a:spcBef>
                <a:spcPts val="600"/>
              </a:spcBef>
              <a:buSzPct val="85000"/>
              <a:tabLst/>
              <a:defRPr lang="en-US" sz="1600" baseline="0">
                <a:solidFill>
                  <a:schemeClr val="bg2"/>
                </a:solidFill>
                <a:latin typeface="+mn-lt"/>
              </a:defRPr>
            </a:lvl8pPr>
            <a:lvl9pPr>
              <a:defRPr sz="1800"/>
            </a:lvl9pPr>
          </a:lstStyle>
          <a:p>
            <a:pPr lvl="0"/>
            <a:r>
              <a:rPr lang="ko-KR" altLang="en-US" noProof="0" smtClean="0"/>
              <a:t>마스터 텍스트 스타일을 편집합니다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셋째 수준</a:t>
            </a:r>
          </a:p>
          <a:p>
            <a:pPr lvl="3"/>
            <a:r>
              <a:rPr lang="ko-KR" altLang="en-US" noProof="0" smtClean="0"/>
              <a:t>넷째 수준</a:t>
            </a:r>
          </a:p>
          <a:p>
            <a:pPr lvl="4"/>
            <a:r>
              <a:rPr lang="ko-KR" altLang="en-US" noProof="0" smtClean="0"/>
              <a:t>다섯째 수준</a:t>
            </a:r>
            <a:endParaRPr lang="en-GB" noProof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1200" y="1514475"/>
            <a:ext cx="4168800" cy="3986325"/>
          </a:xfrm>
        </p:spPr>
        <p:txBody>
          <a:bodyPr/>
          <a:lstStyle>
            <a:lvl1pPr marL="162000">
              <a:defRPr sz="1800"/>
            </a:lvl1pPr>
            <a:lvl2pPr marL="324000">
              <a:spcBef>
                <a:spcPts val="600"/>
              </a:spcBef>
              <a:defRPr sz="1600"/>
            </a:lvl2pPr>
            <a:lvl3pPr marL="486000">
              <a:spcBef>
                <a:spcPts val="600"/>
              </a:spcBef>
              <a:defRPr sz="1600"/>
            </a:lvl3pPr>
            <a:lvl4pPr marL="648000">
              <a:spcBef>
                <a:spcPts val="600"/>
              </a:spcBef>
              <a:defRPr sz="1600"/>
            </a:lvl4pPr>
            <a:lvl5pPr marL="810000" indent="-162000">
              <a:spcBef>
                <a:spcPts val="600"/>
              </a:spcBef>
              <a:defRPr sz="1600"/>
            </a:lvl5pPr>
            <a:lvl6pPr marL="972000">
              <a:defRPr sz="1600"/>
            </a:lvl6pPr>
            <a:lvl7pPr>
              <a:buFont typeface="Arial" pitchFamily="34" charset="0"/>
              <a:buChar char="•"/>
              <a:defRPr lang="en-US" sz="1600" smtClean="0">
                <a:solidFill>
                  <a:schemeClr val="bg2"/>
                </a:solidFill>
                <a:latin typeface="+mn-lt"/>
              </a:defRPr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noProof="0" smtClean="0"/>
              <a:t>마스터 텍스트 스타일을 편집합니다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셋째 수준</a:t>
            </a:r>
          </a:p>
          <a:p>
            <a:pPr lvl="3"/>
            <a:r>
              <a:rPr lang="ko-KR" altLang="en-US" noProof="0" smtClean="0"/>
              <a:t>넷째 수준</a:t>
            </a:r>
          </a:p>
          <a:p>
            <a:pPr lvl="4"/>
            <a:r>
              <a:rPr lang="ko-KR" altLang="en-US" noProof="0" smtClean="0"/>
              <a:t>다섯째 수준</a:t>
            </a:r>
            <a:endParaRPr lang="en-GB" noProof="0" smtClean="0"/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87C8EC1E-5B69-4690-B0E6-A1E270DCAAA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mkFld5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cxnSp>
        <p:nvCxnSpPr>
          <p:cNvPr id="5" name="Straight Connector 10"/>
          <p:cNvCxnSpPr>
            <a:cxnSpLocks noChangeShapeType="1"/>
          </p:cNvCxnSpPr>
          <p:nvPr userDrawn="1"/>
        </p:nvCxnSpPr>
        <p:spPr bwMode="auto">
          <a:xfrm>
            <a:off x="503238" y="5921375"/>
            <a:ext cx="8137525" cy="1588"/>
          </a:xfrm>
          <a:prstGeom prst="line">
            <a:avLst/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</p:cxnSp>
      <p:sp>
        <p:nvSpPr>
          <p:cNvPr id="6" name="bmkHeader"/>
          <p:cNvSpPr txBox="1"/>
          <p:nvPr userDrawn="1"/>
        </p:nvSpPr>
        <p:spPr>
          <a:xfrm>
            <a:off x="503238" y="255588"/>
            <a:ext cx="7632700" cy="165100"/>
          </a:xfrm>
          <a:prstGeom prst="rect">
            <a:avLst/>
          </a:prstGeom>
          <a:noFill/>
        </p:spPr>
        <p:txBody>
          <a:bodyPr lIns="0" tIns="0" rIns="0" bIns="0" anchor="b"/>
          <a:lstStyle/>
          <a:p>
            <a:pPr latinLnBrk="0">
              <a:defRPr/>
            </a:pPr>
            <a:endParaRPr kumimoji="0" lang="en-GB" sz="900" dirty="0">
              <a:solidFill>
                <a:srgbClr val="00B0CA"/>
              </a:solidFill>
              <a:ea typeface="+mn-ea"/>
            </a:endParaRPr>
          </a:p>
        </p:txBody>
      </p:sp>
      <p:sp>
        <p:nvSpPr>
          <p:cNvPr id="8" name="bmkFld5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noProof="0" smtClean="0"/>
              <a:t>마스터 제목 스타일 편집</a:t>
            </a:r>
            <a:endParaRPr lang="en-GB" noProof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4000" y="1514475"/>
            <a:ext cx="8136000" cy="4407525"/>
          </a:xfrm>
        </p:spPr>
        <p:txBody>
          <a:bodyPr/>
          <a:lstStyle/>
          <a:p>
            <a:pPr lvl="0"/>
            <a:r>
              <a:rPr lang="ko-KR" altLang="en-US" noProof="0" dirty="0" smtClean="0"/>
              <a:t>그림을 추가하려면 아이콘을 클릭하십시오</a:t>
            </a:r>
            <a:endParaRPr lang="en-GB" noProof="0" dirty="0"/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FC0805B4-F5C3-499C-9098-2E909CF0A11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 space for logo or department signa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mkFld6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cxnSp>
        <p:nvCxnSpPr>
          <p:cNvPr id="4" name="Straight Connector 9"/>
          <p:cNvCxnSpPr>
            <a:cxnSpLocks noChangeShapeType="1"/>
          </p:cNvCxnSpPr>
          <p:nvPr userDrawn="1"/>
        </p:nvCxnSpPr>
        <p:spPr bwMode="auto">
          <a:xfrm>
            <a:off x="503238" y="5921375"/>
            <a:ext cx="8137525" cy="1588"/>
          </a:xfrm>
          <a:prstGeom prst="line">
            <a:avLst/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</p:cxnSp>
      <p:sp>
        <p:nvSpPr>
          <p:cNvPr id="5" name="bmkHeader"/>
          <p:cNvSpPr txBox="1"/>
          <p:nvPr userDrawn="1"/>
        </p:nvSpPr>
        <p:spPr>
          <a:xfrm>
            <a:off x="503238" y="255588"/>
            <a:ext cx="7632700" cy="165100"/>
          </a:xfrm>
          <a:prstGeom prst="rect">
            <a:avLst/>
          </a:prstGeom>
          <a:noFill/>
        </p:spPr>
        <p:txBody>
          <a:bodyPr lIns="0" tIns="0" rIns="0" bIns="0" anchor="b"/>
          <a:lstStyle/>
          <a:p>
            <a:pPr latinLnBrk="0">
              <a:defRPr/>
            </a:pPr>
            <a:endParaRPr kumimoji="0" lang="en-GB" sz="900" dirty="0">
              <a:solidFill>
                <a:srgbClr val="00B0CA"/>
              </a:solidFill>
              <a:ea typeface="+mn-ea"/>
            </a:endParaRPr>
          </a:p>
        </p:txBody>
      </p:sp>
      <p:sp>
        <p:nvSpPr>
          <p:cNvPr id="7" name="bmkFld6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504000" y="936000"/>
            <a:ext cx="8136000" cy="4986000"/>
          </a:xfrm>
          <a:solidFill>
            <a:schemeClr val="bg2"/>
          </a:solidFill>
        </p:spPr>
        <p:txBody>
          <a:bodyPr/>
          <a:lstStyle/>
          <a:p>
            <a:pPr lvl="0"/>
            <a:r>
              <a:rPr lang="ko-KR" altLang="en-US" noProof="0" dirty="0" smtClean="0"/>
              <a:t>그림을 추가하려면 아이콘을 클릭하십시오</a:t>
            </a:r>
            <a:endParaRPr lang="en-GB" noProof="0" dirty="0"/>
          </a:p>
        </p:txBody>
      </p:sp>
      <p:sp>
        <p:nvSpPr>
          <p:cNvPr id="8" name="Slide Number Placehold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BC318356-AFA8-478B-AD14-0CDBA26C7D5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rpor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mkFPPicture" descr="Coloplast_Nature_Abstracts_02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8640763" cy="5919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3"/>
          <p:cNvSpPr/>
          <p:nvPr userDrawn="1"/>
        </p:nvSpPr>
        <p:spPr bwMode="auto">
          <a:xfrm>
            <a:off x="0" y="4381500"/>
            <a:ext cx="8640763" cy="1539875"/>
          </a:xfrm>
          <a:prstGeom prst="rect">
            <a:avLst/>
          </a:prstGeom>
          <a:solidFill>
            <a:srgbClr val="00B0CA">
              <a:alpha val="8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/>
          <a:lstStyle/>
          <a:p>
            <a:pPr latinLnBrk="0">
              <a:defRPr/>
            </a:pPr>
            <a:endParaRPr kumimoji="0" lang="en-GB" dirty="0">
              <a:solidFill>
                <a:srgbClr val="000000"/>
              </a:solidFill>
              <a:ea typeface="+mn-ea"/>
            </a:endParaRPr>
          </a:p>
        </p:txBody>
      </p:sp>
      <p:sp>
        <p:nvSpPr>
          <p:cNvPr id="6" name="bmkFldName"/>
          <p:cNvSpPr txBox="1"/>
          <p:nvPr userDrawn="1"/>
        </p:nvSpPr>
        <p:spPr>
          <a:xfrm>
            <a:off x="503238" y="5489575"/>
            <a:ext cx="7632700" cy="24606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1600" dirty="0">
              <a:solidFill>
                <a:srgbClr val="FFFFFF"/>
              </a:solidFill>
              <a:ea typeface="+mn-ea"/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03238" y="6173788"/>
            <a:ext cx="124618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bmkFld10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9" name="bmkHeader"/>
          <p:cNvSpPr txBox="1"/>
          <p:nvPr userDrawn="1"/>
        </p:nvSpPr>
        <p:spPr>
          <a:xfrm>
            <a:off x="503238" y="255588"/>
            <a:ext cx="7632700" cy="165100"/>
          </a:xfrm>
          <a:prstGeom prst="rect">
            <a:avLst/>
          </a:prstGeom>
          <a:noFill/>
        </p:spPr>
        <p:txBody>
          <a:bodyPr lIns="0" tIns="0" rIns="0" bIns="0" anchor="b"/>
          <a:lstStyle/>
          <a:p>
            <a:pPr latinLnBrk="0">
              <a:defRPr/>
            </a:pPr>
            <a:endParaRPr kumimoji="0" lang="en-GB" sz="900" dirty="0">
              <a:solidFill>
                <a:srgbClr val="25397D"/>
              </a:solidFill>
              <a:ea typeface="+mn-ea"/>
            </a:endParaRPr>
          </a:p>
        </p:txBody>
      </p:sp>
      <p:sp>
        <p:nvSpPr>
          <p:cNvPr id="10" name="bmkFld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pic>
        <p:nvPicPr>
          <p:cNvPr id="11" name="Picture 18" descr="6CPlogo_Blue_RGB_PP_41.png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167563" y="6167438"/>
            <a:ext cx="1476375" cy="331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8" name="Title 4097"/>
          <p:cNvSpPr>
            <a:spLocks noGrp="1" noChangeArrowheads="1"/>
          </p:cNvSpPr>
          <p:nvPr>
            <p:ph type="ctrTitle"/>
          </p:nvPr>
        </p:nvSpPr>
        <p:spPr>
          <a:xfrm>
            <a:off x="504000" y="4561200"/>
            <a:ext cx="7632000" cy="360000"/>
          </a:xfrm>
        </p:spPr>
        <p:txBody>
          <a:bodyPr/>
          <a:lstStyle>
            <a:lvl1pPr>
              <a:lnSpc>
                <a:spcPts val="29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altLang="ko-KR" noProof="0" smtClean="0"/>
              <a:t>Click to edit Master title style</a:t>
            </a:r>
            <a:endParaRPr lang="en-GB" noProof="0"/>
          </a:p>
        </p:txBody>
      </p:sp>
      <p:sp>
        <p:nvSpPr>
          <p:cNvPr id="4099" name="Subtitle 4098"/>
          <p:cNvSpPr>
            <a:spLocks noGrp="1" noChangeArrowheads="1"/>
          </p:cNvSpPr>
          <p:nvPr>
            <p:ph type="subTitle" idx="1"/>
          </p:nvPr>
        </p:nvSpPr>
        <p:spPr>
          <a:xfrm>
            <a:off x="504000" y="4939200"/>
            <a:ext cx="7632000" cy="360000"/>
          </a:xfrm>
        </p:spPr>
        <p:txBody>
          <a:bodyPr/>
          <a:lstStyle>
            <a:lvl1pPr marL="0" indent="0">
              <a:lnSpc>
                <a:spcPts val="1900"/>
              </a:lnSpc>
              <a:spcBef>
                <a:spcPct val="0"/>
              </a:spcBef>
              <a:buFontTx/>
              <a:buNone/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en-US" altLang="ko-KR" noProof="0" smtClean="0"/>
              <a:t>Click to edit Master subtitle style</a:t>
            </a:r>
            <a:endParaRPr lang="en-GB" noProof="0"/>
          </a:p>
        </p:txBody>
      </p:sp>
      <p:sp>
        <p:nvSpPr>
          <p:cNvPr id="12" name="Rectangle 3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2303463" y="6397625"/>
            <a:ext cx="1152525" cy="1016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07BB6783-E863-47E5-B5FC-5A961926769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mkFld7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cxnSp>
        <p:nvCxnSpPr>
          <p:cNvPr id="4" name="Straight Connector 9"/>
          <p:cNvCxnSpPr>
            <a:cxnSpLocks noChangeShapeType="1"/>
          </p:cNvCxnSpPr>
          <p:nvPr userDrawn="1"/>
        </p:nvCxnSpPr>
        <p:spPr bwMode="auto">
          <a:xfrm>
            <a:off x="503238" y="5921375"/>
            <a:ext cx="8137525" cy="1588"/>
          </a:xfrm>
          <a:prstGeom prst="line">
            <a:avLst/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</p:cxnSp>
      <p:sp>
        <p:nvSpPr>
          <p:cNvPr id="5" name="bmkFld7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504000" y="504000"/>
            <a:ext cx="8136000" cy="5418000"/>
          </a:xfrm>
        </p:spPr>
        <p:txBody>
          <a:bodyPr/>
          <a:lstStyle/>
          <a:p>
            <a:pPr lvl="0"/>
            <a:r>
              <a:rPr lang="ko-KR" altLang="en-US" noProof="0" dirty="0" smtClean="0"/>
              <a:t>그림을 추가하려면 아이콘을 클릭하십시오</a:t>
            </a:r>
            <a:endParaRPr lang="en-GB" noProof="0" dirty="0"/>
          </a:p>
        </p:txBody>
      </p:sp>
      <p:sp>
        <p:nvSpPr>
          <p:cNvPr id="7" name="Slide Number Placehold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395870A8-7194-47B3-A0EF-A532C59D271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mkFld8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cxnSp>
        <p:nvCxnSpPr>
          <p:cNvPr id="4" name="Straight Connector 9"/>
          <p:cNvCxnSpPr>
            <a:cxnSpLocks noChangeShapeType="1"/>
          </p:cNvCxnSpPr>
          <p:nvPr userDrawn="1"/>
        </p:nvCxnSpPr>
        <p:spPr bwMode="auto">
          <a:xfrm>
            <a:off x="503238" y="5921375"/>
            <a:ext cx="8137525" cy="1588"/>
          </a:xfrm>
          <a:prstGeom prst="line">
            <a:avLst/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</p:cxnSp>
      <p:sp>
        <p:nvSpPr>
          <p:cNvPr id="5" name="bmkHeader"/>
          <p:cNvSpPr txBox="1"/>
          <p:nvPr userDrawn="1"/>
        </p:nvSpPr>
        <p:spPr>
          <a:xfrm>
            <a:off x="503238" y="255588"/>
            <a:ext cx="7632700" cy="165100"/>
          </a:xfrm>
          <a:prstGeom prst="rect">
            <a:avLst/>
          </a:prstGeom>
          <a:noFill/>
        </p:spPr>
        <p:txBody>
          <a:bodyPr lIns="0" tIns="0" rIns="0" bIns="0" anchor="b"/>
          <a:lstStyle/>
          <a:p>
            <a:pPr latinLnBrk="0">
              <a:defRPr/>
            </a:pPr>
            <a:endParaRPr kumimoji="0" lang="en-GB" sz="900" dirty="0">
              <a:solidFill>
                <a:srgbClr val="00B0CA"/>
              </a:solidFill>
              <a:ea typeface="+mn-ea"/>
            </a:endParaRPr>
          </a:p>
        </p:txBody>
      </p:sp>
      <p:sp>
        <p:nvSpPr>
          <p:cNvPr id="6" name="bmkFld8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noProof="0" smtClean="0"/>
              <a:t>마스터 제목 스타일 편집</a:t>
            </a:r>
            <a:endParaRPr lang="en-GB" noProof="0"/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B3EA54B9-96DC-4292-B4F3-D74C30E4AA70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mkFld9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cxnSp>
        <p:nvCxnSpPr>
          <p:cNvPr id="3" name="Straight Connector 7"/>
          <p:cNvCxnSpPr>
            <a:cxnSpLocks noChangeShapeType="1"/>
          </p:cNvCxnSpPr>
          <p:nvPr userDrawn="1"/>
        </p:nvCxnSpPr>
        <p:spPr bwMode="auto">
          <a:xfrm>
            <a:off x="503238" y="5921375"/>
            <a:ext cx="8137525" cy="1588"/>
          </a:xfrm>
          <a:prstGeom prst="line">
            <a:avLst/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</p:cxnSp>
      <p:sp>
        <p:nvSpPr>
          <p:cNvPr id="4" name="bmkHeader"/>
          <p:cNvSpPr txBox="1"/>
          <p:nvPr userDrawn="1"/>
        </p:nvSpPr>
        <p:spPr>
          <a:xfrm>
            <a:off x="503238" y="255588"/>
            <a:ext cx="7632700" cy="165100"/>
          </a:xfrm>
          <a:prstGeom prst="rect">
            <a:avLst/>
          </a:prstGeom>
          <a:noFill/>
        </p:spPr>
        <p:txBody>
          <a:bodyPr lIns="0" tIns="0" rIns="0" bIns="0" anchor="b"/>
          <a:lstStyle/>
          <a:p>
            <a:pPr latinLnBrk="0">
              <a:defRPr/>
            </a:pPr>
            <a:endParaRPr kumimoji="0" lang="en-GB" sz="900" dirty="0">
              <a:solidFill>
                <a:srgbClr val="00B0CA"/>
              </a:solidFill>
              <a:ea typeface="+mn-ea"/>
            </a:endParaRPr>
          </a:p>
        </p:txBody>
      </p:sp>
      <p:sp>
        <p:nvSpPr>
          <p:cNvPr id="5" name="bmkFld9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51878E87-9616-42A9-BD36-963CEEEB2E5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slide corpor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mkFld11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4" name="bmkFld10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3999" y="5036400"/>
            <a:ext cx="7632000" cy="763200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ko-KR" altLang="en-US" noProof="0" smtClean="0"/>
              <a:t>마스터 제목 스타일 편집</a:t>
            </a:r>
            <a:endParaRPr lang="en-GB" noProof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3A014F66-36AF-4F1A-8AA0-5D4BD5DCCED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slide business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mkFld12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4" name="bmkFld11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3999" y="4845600"/>
            <a:ext cx="7632000" cy="763200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ko-KR" altLang="en-US" noProof="0" smtClean="0"/>
              <a:t>마스터 제목 스타일 편집</a:t>
            </a:r>
            <a:endParaRPr lang="en-GB" noProof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30A03C5C-71F1-4D61-9DAC-F64578A9C99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bullets for colored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/>
          <p:nvPr userDrawn="1"/>
        </p:nvSpPr>
        <p:spPr bwMode="auto">
          <a:xfrm>
            <a:off x="0" y="0"/>
            <a:ext cx="8640763" cy="59213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/>
          <a:lstStyle/>
          <a:p>
            <a:pPr latinLnBrk="0">
              <a:defRPr/>
            </a:pPr>
            <a:endParaRPr kumimoji="0" lang="en-GB" dirty="0">
              <a:solidFill>
                <a:srgbClr val="000000"/>
              </a:solidFill>
              <a:ea typeface="+mn-ea"/>
            </a:endParaRPr>
          </a:p>
        </p:txBody>
      </p:sp>
      <p:sp>
        <p:nvSpPr>
          <p:cNvPr id="5" name="bmkFld13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6" name="bmkFld12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503999" y="1514474"/>
            <a:ext cx="7632000" cy="39143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ko-KR" altLang="en-US" noProof="0" smtClean="0"/>
              <a:t>마스터 텍스트 스타일을 편집합니다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셋째 수준</a:t>
            </a:r>
          </a:p>
          <a:p>
            <a:pPr lvl="3"/>
            <a:r>
              <a:rPr lang="ko-KR" altLang="en-US" noProof="0" smtClean="0"/>
              <a:t>넷째 수준</a:t>
            </a:r>
          </a:p>
          <a:p>
            <a:pPr lvl="4"/>
            <a:r>
              <a:rPr lang="ko-KR" altLang="en-US" noProof="0" smtClean="0"/>
              <a:t>다섯째 수준</a:t>
            </a:r>
            <a:endParaRPr lang="en-GB" noProof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503999" y="616023"/>
            <a:ext cx="7632000" cy="626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ko-KR" altLang="en-US" noProof="0" smtClean="0"/>
              <a:t>마스터 제목 스타일 편집</a:t>
            </a:r>
            <a:endParaRPr lang="en-GB" noProof="0"/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13C5CB56-EF00-4B93-8F51-C3E1C155524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for colored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/>
          <p:nvPr userDrawn="1"/>
        </p:nvSpPr>
        <p:spPr bwMode="auto">
          <a:xfrm>
            <a:off x="0" y="0"/>
            <a:ext cx="8640763" cy="59213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/>
          <a:lstStyle/>
          <a:p>
            <a:pPr latinLnBrk="0">
              <a:defRPr/>
            </a:pPr>
            <a:endParaRPr kumimoji="0" lang="en-GB" dirty="0">
              <a:solidFill>
                <a:srgbClr val="000000"/>
              </a:solidFill>
              <a:ea typeface="+mn-ea"/>
            </a:endParaRPr>
          </a:p>
        </p:txBody>
      </p:sp>
      <p:sp>
        <p:nvSpPr>
          <p:cNvPr id="5" name="bmkFld14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6" name="bmkFld13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503999" y="1514474"/>
            <a:ext cx="7632000" cy="3914325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ko-KR" altLang="en-US" noProof="0" smtClean="0"/>
              <a:t>마스터 텍스트 스타일을 편집합니다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셋째 수준</a:t>
            </a:r>
          </a:p>
          <a:p>
            <a:pPr lvl="3"/>
            <a:r>
              <a:rPr lang="ko-KR" altLang="en-US" noProof="0" smtClean="0"/>
              <a:t>넷째 수준</a:t>
            </a:r>
          </a:p>
          <a:p>
            <a:pPr lvl="4"/>
            <a:r>
              <a:rPr lang="ko-KR" altLang="en-US" noProof="0" smtClean="0"/>
              <a:t>다섯째 수준</a:t>
            </a:r>
            <a:endParaRPr lang="en-GB" noProof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503999" y="616023"/>
            <a:ext cx="7632000" cy="626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ko-KR" altLang="en-US" noProof="0" smtClean="0"/>
              <a:t>마스터 제목 스타일 편집</a:t>
            </a:r>
            <a:endParaRPr lang="en-GB" noProof="0"/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7B135FB6-D17B-4FCC-B9BB-A8CF6CA740C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Vision-Health-Histo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mkFld15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3" name="bmkFld14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688C2B17-4B8A-4F5C-97A7-27014ECECDC7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itle two conten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12"/>
          <p:cNvCxnSpPr>
            <a:cxnSpLocks noChangeShapeType="1"/>
          </p:cNvCxnSpPr>
          <p:nvPr userDrawn="1"/>
        </p:nvCxnSpPr>
        <p:spPr bwMode="auto">
          <a:xfrm>
            <a:off x="503238" y="5921375"/>
            <a:ext cx="8137525" cy="1588"/>
          </a:xfrm>
          <a:prstGeom prst="line">
            <a:avLst/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</p:cxnSp>
      <p:sp>
        <p:nvSpPr>
          <p:cNvPr id="8" name="bmkFld16PresentationTitle"/>
          <p:cNvSpPr txBox="1"/>
          <p:nvPr userDrawn="1"/>
        </p:nvSpPr>
        <p:spPr>
          <a:xfrm>
            <a:off x="2303463" y="6284913"/>
            <a:ext cx="2881312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9" name="bmkHeader"/>
          <p:cNvSpPr txBox="1"/>
          <p:nvPr userDrawn="1"/>
        </p:nvSpPr>
        <p:spPr>
          <a:xfrm>
            <a:off x="503238" y="255588"/>
            <a:ext cx="7632700" cy="165100"/>
          </a:xfrm>
          <a:prstGeom prst="rect">
            <a:avLst/>
          </a:prstGeom>
          <a:noFill/>
        </p:spPr>
        <p:txBody>
          <a:bodyPr lIns="0" tIns="0" rIns="0" bIns="0" anchor="b"/>
          <a:lstStyle/>
          <a:p>
            <a:pPr latinLnBrk="0">
              <a:defRPr/>
            </a:pPr>
            <a:endParaRPr kumimoji="0" lang="en-GB" sz="900" dirty="0">
              <a:solidFill>
                <a:srgbClr val="00B0CA"/>
              </a:solidFill>
              <a:ea typeface="+mn-ea"/>
            </a:endParaRPr>
          </a:p>
        </p:txBody>
      </p:sp>
      <p:sp>
        <p:nvSpPr>
          <p:cNvPr id="10" name="bmkFld15DateOfPresentation"/>
          <p:cNvSpPr txBox="1"/>
          <p:nvPr userDrawn="1"/>
        </p:nvSpPr>
        <p:spPr>
          <a:xfrm>
            <a:off x="2303463" y="6173788"/>
            <a:ext cx="1152525" cy="100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endParaRPr kumimoji="0" lang="en-GB" sz="650" dirty="0">
              <a:solidFill>
                <a:srgbClr val="6F6F6F"/>
              </a:solidFill>
              <a:ea typeface="+mn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 noProof="0" smtClean="0"/>
              <a:t>마스터 제목 스타일 편집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4000" y="1535113"/>
            <a:ext cx="3826800" cy="536565"/>
          </a:xfrm>
        </p:spPr>
        <p:txBody>
          <a:bodyPr anchor="b"/>
          <a:lstStyle>
            <a:lvl1pPr marL="0" indent="0">
              <a:lnSpc>
                <a:spcPts val="2300"/>
              </a:lnSpc>
              <a:spcBef>
                <a:spcPts val="0"/>
              </a:spcBef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noProof="0" smtClean="0"/>
              <a:t>마스터 텍스트 스타일을 편집합니다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999" y="2174875"/>
            <a:ext cx="3826800" cy="333098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noProof="0" smtClean="0"/>
              <a:t>마스터 텍스트 스타일을 편집합니다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셋째 수준</a:t>
            </a:r>
          </a:p>
          <a:p>
            <a:pPr lvl="3"/>
            <a:r>
              <a:rPr lang="ko-KR" altLang="en-US" noProof="0" smtClean="0"/>
              <a:t>넷째 수준</a:t>
            </a:r>
          </a:p>
          <a:p>
            <a:pPr lvl="4"/>
            <a:r>
              <a:rPr lang="ko-KR" altLang="en-US" noProof="0" smtClean="0"/>
              <a:t>다섯째 수준</a:t>
            </a:r>
            <a:endParaRPr lang="en-GB" noProof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95200" y="1535113"/>
            <a:ext cx="3826800" cy="536400"/>
          </a:xfrm>
        </p:spPr>
        <p:txBody>
          <a:bodyPr anchor="b"/>
          <a:lstStyle>
            <a:lvl1pPr marL="0" indent="0">
              <a:lnSpc>
                <a:spcPts val="2300"/>
              </a:lnSpc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noProof="0" smtClean="0"/>
              <a:t>마스터 텍스트 스타일을 편집합니다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95200" y="2174875"/>
            <a:ext cx="3826800" cy="33300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noProof="0" smtClean="0"/>
              <a:t>마스터 텍스트 스타일을 편집합니다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셋째 수준</a:t>
            </a:r>
          </a:p>
          <a:p>
            <a:pPr lvl="3"/>
            <a:r>
              <a:rPr lang="ko-KR" altLang="en-US" noProof="0" smtClean="0"/>
              <a:t>넷째 수준</a:t>
            </a:r>
          </a:p>
          <a:p>
            <a:pPr lvl="4"/>
            <a:r>
              <a:rPr lang="ko-KR" altLang="en-US" noProof="0" smtClean="0"/>
              <a:t>다섯째 수준</a:t>
            </a:r>
            <a:endParaRPr lang="en-GB" noProof="0"/>
          </a:p>
        </p:txBody>
      </p:sp>
      <p:sp>
        <p:nvSpPr>
          <p:cNvPr id="11" name="Slide Number Placeholder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4B1A0B9C-57E2-427C-8B66-EB5D035DFA05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0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slideLayout" Target="../slideLayouts/slideLayout2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image" Target="../media/image7.png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image" Target="../media/image6.png"/><Relationship Id="rId2" Type="http://schemas.openxmlformats.org/officeDocument/2006/relationships/slideLayout" Target="../slideLayouts/slideLayout25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image" Target="../media/image7.png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image" Target="../media/image6.png"/><Relationship Id="rId2" Type="http://schemas.openxmlformats.org/officeDocument/2006/relationships/slideLayout" Target="../slideLayouts/slideLayout40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slideLayout" Target="../slideLayouts/slideLayout66.xml"/><Relationship Id="rId18" Type="http://schemas.openxmlformats.org/officeDocument/2006/relationships/image" Target="../media/image7.png"/><Relationship Id="rId3" Type="http://schemas.openxmlformats.org/officeDocument/2006/relationships/slideLayout" Target="../slideLayouts/slideLayout56.xml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17" Type="http://schemas.openxmlformats.org/officeDocument/2006/relationships/image" Target="../media/image6.png"/><Relationship Id="rId2" Type="http://schemas.openxmlformats.org/officeDocument/2006/relationships/slideLayout" Target="../slideLayouts/slideLayout55.xml"/><Relationship Id="rId16" Type="http://schemas.openxmlformats.org/officeDocument/2006/relationships/theme" Target="../theme/theme5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5" Type="http://schemas.openxmlformats.org/officeDocument/2006/relationships/slideLayout" Target="../slideLayouts/slideLayout58.xml"/><Relationship Id="rId15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63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slideLayout" Target="../slideLayouts/slideLayout6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13" Type="http://schemas.openxmlformats.org/officeDocument/2006/relationships/slideLayout" Target="../slideLayouts/slideLayout81.xml"/><Relationship Id="rId18" Type="http://schemas.openxmlformats.org/officeDocument/2006/relationships/image" Target="../media/image7.png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12" Type="http://schemas.openxmlformats.org/officeDocument/2006/relationships/slideLayout" Target="../slideLayouts/slideLayout80.xml"/><Relationship Id="rId17" Type="http://schemas.openxmlformats.org/officeDocument/2006/relationships/image" Target="../media/image6.png"/><Relationship Id="rId2" Type="http://schemas.openxmlformats.org/officeDocument/2006/relationships/slideLayout" Target="../slideLayouts/slideLayout70.xml"/><Relationship Id="rId16" Type="http://schemas.openxmlformats.org/officeDocument/2006/relationships/theme" Target="../theme/theme6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5" Type="http://schemas.openxmlformats.org/officeDocument/2006/relationships/slideLayout" Target="../slideLayouts/slideLayout73.xml"/><Relationship Id="rId15" Type="http://schemas.openxmlformats.org/officeDocument/2006/relationships/slideLayout" Target="../slideLayouts/slideLayout83.xml"/><Relationship Id="rId10" Type="http://schemas.openxmlformats.org/officeDocument/2006/relationships/slideLayout" Target="../slideLayouts/slideLayout78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Relationship Id="rId14" Type="http://schemas.openxmlformats.org/officeDocument/2006/relationships/slideLayout" Target="../slideLayouts/slideLayout82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13" Type="http://schemas.openxmlformats.org/officeDocument/2006/relationships/slideLayout" Target="../slideLayouts/slideLayout96.xml"/><Relationship Id="rId18" Type="http://schemas.openxmlformats.org/officeDocument/2006/relationships/image" Target="../media/image7.png"/><Relationship Id="rId3" Type="http://schemas.openxmlformats.org/officeDocument/2006/relationships/slideLayout" Target="../slideLayouts/slideLayout86.xml"/><Relationship Id="rId7" Type="http://schemas.openxmlformats.org/officeDocument/2006/relationships/slideLayout" Target="../slideLayouts/slideLayout90.xml"/><Relationship Id="rId12" Type="http://schemas.openxmlformats.org/officeDocument/2006/relationships/slideLayout" Target="../slideLayouts/slideLayout95.xml"/><Relationship Id="rId17" Type="http://schemas.openxmlformats.org/officeDocument/2006/relationships/image" Target="../media/image6.png"/><Relationship Id="rId2" Type="http://schemas.openxmlformats.org/officeDocument/2006/relationships/slideLayout" Target="../slideLayouts/slideLayout85.xml"/><Relationship Id="rId16" Type="http://schemas.openxmlformats.org/officeDocument/2006/relationships/theme" Target="../theme/theme7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5" Type="http://schemas.openxmlformats.org/officeDocument/2006/relationships/slideLayout" Target="../slideLayouts/slideLayout88.xml"/><Relationship Id="rId15" Type="http://schemas.openxmlformats.org/officeDocument/2006/relationships/slideLayout" Target="../slideLayouts/slideLayout98.xml"/><Relationship Id="rId10" Type="http://schemas.openxmlformats.org/officeDocument/2006/relationships/slideLayout" Target="../slideLayouts/slideLayout93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Relationship Id="rId14" Type="http://schemas.openxmlformats.org/officeDocument/2006/relationships/slideLayout" Target="../slideLayouts/slideLayout9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5"/>
          <p:cNvPicPr>
            <a:picLocks noChangeAspect="1" noChangeArrowheads="1"/>
          </p:cNvPicPr>
          <p:nvPr/>
        </p:nvPicPr>
        <p:blipFill>
          <a:blip r:embed="rId10" cstate="print"/>
          <a:srcRect l="937" t="29071" r="38350" b="11629"/>
          <a:stretch>
            <a:fillRect/>
          </a:stretch>
        </p:blipFill>
        <p:spPr bwMode="auto">
          <a:xfrm>
            <a:off x="0" y="0"/>
            <a:ext cx="9140825" cy="287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863600" y="898525"/>
            <a:ext cx="7413625" cy="801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제목 스타일 편집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63600" y="1727200"/>
            <a:ext cx="7413625" cy="3814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</a:p>
        </p:txBody>
      </p:sp>
      <p:sp>
        <p:nvSpPr>
          <p:cNvPr id="1070" name="Rectangle 4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16975" y="104775"/>
            <a:ext cx="287338" cy="117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latinLnBrk="0">
              <a:defRPr kumimoji="0" sz="900">
                <a:solidFill>
                  <a:schemeClr val="bg1"/>
                </a:solidFill>
                <a:ea typeface="+mn-ea"/>
              </a:defRPr>
            </a:lvl1pPr>
          </a:lstStyle>
          <a:p>
            <a:pPr>
              <a:defRPr/>
            </a:pPr>
            <a:fld id="{C2E5BC29-FF45-4B0B-9E9B-6B8750A5729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71" name="Rectangle 4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863600" y="104775"/>
            <a:ext cx="1079500" cy="117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latinLnBrk="0">
              <a:defRPr kumimoji="0" sz="900">
                <a:solidFill>
                  <a:schemeClr val="bg1"/>
                </a:solidFill>
                <a:ea typeface="+mn-ea"/>
              </a:defRPr>
            </a:lvl1pPr>
          </a:lstStyle>
          <a:p>
            <a:pPr>
              <a:defRPr/>
            </a:pPr>
            <a:fld id="{C9A306AF-A54C-45A4-AF6A-58FCA826F2A2}" type="datetime4">
              <a:rPr lang="en-GB"/>
              <a:pPr>
                <a:defRPr/>
              </a:pPr>
              <a:t>20 March 2017</a:t>
            </a:fld>
            <a:endParaRPr lang="en-US" dirty="0"/>
          </a:p>
        </p:txBody>
      </p:sp>
      <p:sp>
        <p:nvSpPr>
          <p:cNvPr id="1072" name="Rectangle 4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036763" y="115888"/>
            <a:ext cx="6496050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latinLnBrk="0">
              <a:defRPr kumimoji="0" sz="900">
                <a:solidFill>
                  <a:schemeClr val="bg1"/>
                </a:solidFill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grpSp>
        <p:nvGrpSpPr>
          <p:cNvPr id="1032" name="Group 55"/>
          <p:cNvGrpSpPr>
            <a:grpSpLocks/>
          </p:cNvGrpSpPr>
          <p:nvPr/>
        </p:nvGrpSpPr>
        <p:grpSpPr bwMode="auto">
          <a:xfrm>
            <a:off x="0" y="5562600"/>
            <a:ext cx="9140825" cy="822325"/>
            <a:chOff x="0" y="3504"/>
            <a:chExt cx="5758" cy="518"/>
          </a:xfrm>
        </p:grpSpPr>
        <p:pic>
          <p:nvPicPr>
            <p:cNvPr id="1033" name="Picture 51" descr="ColoplastTitleslide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 r="40" b="24709"/>
            <a:stretch>
              <a:fillRect/>
            </a:stretch>
          </p:blipFill>
          <p:spPr bwMode="auto">
            <a:xfrm>
              <a:off x="0" y="3504"/>
              <a:ext cx="5758" cy="5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76" name="Rectangle 52"/>
            <p:cNvSpPr>
              <a:spLocks noChangeArrowheads="1"/>
            </p:cNvSpPr>
            <p:nvPr userDrawn="1"/>
          </p:nvSpPr>
          <p:spPr bwMode="auto">
            <a:xfrm>
              <a:off x="204" y="3867"/>
              <a:ext cx="748" cy="154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latinLnBrk="0">
                <a:defRPr/>
              </a:pPr>
              <a:endParaRPr kumimoji="0" lang="en-US" dirty="0">
                <a:ea typeface="+mn-ea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843" r:id="rId2"/>
    <p:sldLayoutId id="2147483842" r:id="rId3"/>
    <p:sldLayoutId id="2147483841" r:id="rId4"/>
    <p:sldLayoutId id="2147483840" r:id="rId5"/>
    <p:sldLayoutId id="2147483839" r:id="rId6"/>
    <p:sldLayoutId id="2147483838" r:id="rId7"/>
    <p:sldLayoutId id="2147483845" r:id="rId8"/>
  </p:sldLayoutIdLst>
  <p:hf hdr="0" ftr="0"/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9pPr>
    </p:titleStyle>
    <p:bodyStyle>
      <a:lvl1pPr marL="176213" indent="-176213" algn="l" rtl="0" eaLnBrk="0" fontAlgn="base" hangingPunct="0">
        <a:spcBef>
          <a:spcPct val="30000"/>
        </a:spcBef>
        <a:spcAft>
          <a:spcPct val="0"/>
        </a:spcAft>
        <a:buChar char="•"/>
        <a:tabLst>
          <a:tab pos="176213" algn="l"/>
        </a:tabLst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354013" indent="-176213" algn="l" rtl="0" eaLnBrk="0" fontAlgn="base" hangingPunct="0">
        <a:spcBef>
          <a:spcPct val="30000"/>
        </a:spcBef>
        <a:spcAft>
          <a:spcPct val="0"/>
        </a:spcAft>
        <a:buChar char="•"/>
        <a:tabLst>
          <a:tab pos="176213" algn="l"/>
        </a:tabLst>
        <a:defRPr>
          <a:solidFill>
            <a:schemeClr val="tx1"/>
          </a:solidFill>
          <a:latin typeface="+mn-lt"/>
        </a:defRPr>
      </a:lvl2pPr>
      <a:lvl3pPr marL="541338" indent="-185738" algn="l" rtl="0" eaLnBrk="0" fontAlgn="base" hangingPunct="0">
        <a:spcBef>
          <a:spcPct val="30000"/>
        </a:spcBef>
        <a:spcAft>
          <a:spcPct val="0"/>
        </a:spcAft>
        <a:buChar char="•"/>
        <a:tabLst>
          <a:tab pos="176213" algn="l"/>
        </a:tabLst>
        <a:defRPr>
          <a:solidFill>
            <a:schemeClr val="tx1"/>
          </a:solidFill>
          <a:latin typeface="+mn-lt"/>
        </a:defRPr>
      </a:lvl3pPr>
      <a:lvl4pPr marL="727075" indent="-184150" algn="l" rtl="0" eaLnBrk="0" fontAlgn="base" hangingPunct="0">
        <a:spcBef>
          <a:spcPct val="30000"/>
        </a:spcBef>
        <a:spcAft>
          <a:spcPct val="0"/>
        </a:spcAft>
        <a:buChar char="•"/>
        <a:tabLst>
          <a:tab pos="176213" algn="l"/>
        </a:tabLst>
        <a:defRPr>
          <a:solidFill>
            <a:schemeClr val="tx1"/>
          </a:solidFill>
          <a:latin typeface="+mn-lt"/>
        </a:defRPr>
      </a:lvl4pPr>
      <a:lvl5pPr marL="906463" indent="-177800" algn="l" rtl="0" eaLnBrk="0" fontAlgn="base" hangingPunct="0">
        <a:spcBef>
          <a:spcPct val="30000"/>
        </a:spcBef>
        <a:spcAft>
          <a:spcPct val="0"/>
        </a:spcAft>
        <a:buChar char="•"/>
        <a:tabLst>
          <a:tab pos="176213" algn="l"/>
        </a:tabLst>
        <a:defRPr>
          <a:solidFill>
            <a:schemeClr val="tx1"/>
          </a:solidFill>
          <a:latin typeface="+mn-lt"/>
        </a:defRPr>
      </a:lvl5pPr>
      <a:lvl6pPr marL="1363663" indent="-177800" algn="l" rtl="0" eaLnBrk="1" fontAlgn="base" hangingPunct="1">
        <a:spcBef>
          <a:spcPct val="30000"/>
        </a:spcBef>
        <a:spcAft>
          <a:spcPct val="0"/>
        </a:spcAft>
        <a:buChar char="•"/>
        <a:tabLst>
          <a:tab pos="176213" algn="l"/>
        </a:tabLst>
        <a:defRPr>
          <a:solidFill>
            <a:schemeClr val="tx1"/>
          </a:solidFill>
          <a:latin typeface="+mn-lt"/>
        </a:defRPr>
      </a:lvl6pPr>
      <a:lvl7pPr marL="1820863" indent="-177800" algn="l" rtl="0" eaLnBrk="1" fontAlgn="base" hangingPunct="1">
        <a:spcBef>
          <a:spcPct val="30000"/>
        </a:spcBef>
        <a:spcAft>
          <a:spcPct val="0"/>
        </a:spcAft>
        <a:buChar char="•"/>
        <a:tabLst>
          <a:tab pos="176213" algn="l"/>
        </a:tabLst>
        <a:defRPr>
          <a:solidFill>
            <a:schemeClr val="tx1"/>
          </a:solidFill>
          <a:latin typeface="+mn-lt"/>
        </a:defRPr>
      </a:lvl7pPr>
      <a:lvl8pPr marL="2278063" indent="-177800" algn="l" rtl="0" eaLnBrk="1" fontAlgn="base" hangingPunct="1">
        <a:spcBef>
          <a:spcPct val="30000"/>
        </a:spcBef>
        <a:spcAft>
          <a:spcPct val="0"/>
        </a:spcAft>
        <a:buChar char="•"/>
        <a:tabLst>
          <a:tab pos="176213" algn="l"/>
        </a:tabLst>
        <a:defRPr>
          <a:solidFill>
            <a:schemeClr val="tx1"/>
          </a:solidFill>
          <a:latin typeface="+mn-lt"/>
        </a:defRPr>
      </a:lvl8pPr>
      <a:lvl9pPr marL="2735263" indent="-177800" algn="l" rtl="0" eaLnBrk="1" fontAlgn="base" hangingPunct="1">
        <a:spcBef>
          <a:spcPct val="30000"/>
        </a:spcBef>
        <a:spcAft>
          <a:spcPct val="0"/>
        </a:spcAft>
        <a:buChar char="•"/>
        <a:tabLst>
          <a:tab pos="176213" algn="l"/>
        </a:tabLst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3238" y="615950"/>
            <a:ext cx="8137525" cy="627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제목 스타일 편집</a:t>
            </a:r>
            <a:endParaRPr lang="en-GB" smtClean="0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3238" y="1514475"/>
            <a:ext cx="8137525" cy="4371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en-GB" smtClean="0"/>
          </a:p>
        </p:txBody>
      </p:sp>
      <p:sp>
        <p:nvSpPr>
          <p:cNvPr id="1070" name="Rectangle 4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2303463" y="6397625"/>
            <a:ext cx="1081087" cy="1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latinLnBrk="0">
              <a:defRPr kumimoji="0" sz="650">
                <a:solidFill>
                  <a:srgbClr val="6F6F6F"/>
                </a:solidFill>
                <a:ea typeface="+mn-ea"/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57612C44-7A19-4EDC-82FA-05124A790776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46" r:id="rId1"/>
    <p:sldLayoutId id="2147483847" r:id="rId2"/>
    <p:sldLayoutId id="2147483848" r:id="rId3"/>
    <p:sldLayoutId id="2147483849" r:id="rId4"/>
    <p:sldLayoutId id="2147483850" r:id="rId5"/>
    <p:sldLayoutId id="2147483851" r:id="rId6"/>
    <p:sldLayoutId id="2147483852" r:id="rId7"/>
    <p:sldLayoutId id="2147483853" r:id="rId8"/>
    <p:sldLayoutId id="2147483854" r:id="rId9"/>
    <p:sldLayoutId id="2147483855" r:id="rId10"/>
    <p:sldLayoutId id="2147483856" r:id="rId11"/>
    <p:sldLayoutId id="2147483857" r:id="rId12"/>
    <p:sldLayoutId id="2147483858" r:id="rId13"/>
    <p:sldLayoutId id="2147483859" r:id="rId14"/>
    <p:sldLayoutId id="2147483860" r:id="rId15"/>
  </p:sldLayoutIdLst>
  <p:hf hdr="0" ftr="0" dt="0"/>
  <p:txStyles>
    <p:titleStyle>
      <a:lvl1pPr algn="l" rtl="0" eaLnBrk="0" fontAlgn="base" latinLnBrk="1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latinLnBrk="1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2pPr>
      <a:lvl3pPr algn="l" rtl="0" eaLnBrk="0" fontAlgn="base" latinLnBrk="1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3pPr>
      <a:lvl4pPr algn="l" rtl="0" eaLnBrk="0" fontAlgn="base" latinLnBrk="1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4pPr>
      <a:lvl5pPr algn="l" rtl="0" eaLnBrk="0" fontAlgn="base" latinLnBrk="1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5pPr>
      <a:lvl6pPr marL="457200" algn="l" rtl="0" eaLnBrk="1" fontAlgn="base" latinLnBrk="1" hangingPunct="1">
        <a:lnSpc>
          <a:spcPct val="85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6pPr>
      <a:lvl7pPr marL="914400" algn="l" rtl="0" eaLnBrk="1" fontAlgn="base" latinLnBrk="1" hangingPunct="1">
        <a:lnSpc>
          <a:spcPct val="85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7pPr>
      <a:lvl8pPr marL="1371600" algn="l" rtl="0" eaLnBrk="1" fontAlgn="base" latinLnBrk="1" hangingPunct="1">
        <a:lnSpc>
          <a:spcPct val="85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8pPr>
      <a:lvl9pPr marL="1828800" algn="l" rtl="0" eaLnBrk="1" fontAlgn="base" latinLnBrk="1" hangingPunct="1">
        <a:lnSpc>
          <a:spcPct val="85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9pPr>
    </p:titleStyle>
    <p:bodyStyle>
      <a:lvl1pPr marL="161925" indent="-161925" algn="l" rtl="0" eaLnBrk="0" fontAlgn="base" latinLnBrk="1" hangingPunct="0">
        <a:lnSpc>
          <a:spcPts val="2163"/>
        </a:lnSpc>
        <a:spcBef>
          <a:spcPct val="30000"/>
        </a:spcBef>
        <a:spcAft>
          <a:spcPct val="0"/>
        </a:spcAft>
        <a:buSzPct val="85000"/>
        <a:buChar char="•"/>
        <a:defRPr>
          <a:solidFill>
            <a:schemeClr val="bg2"/>
          </a:solidFill>
          <a:latin typeface="+mn-lt"/>
          <a:ea typeface="+mn-ea"/>
          <a:cs typeface="+mn-cs"/>
        </a:defRPr>
      </a:lvl1pPr>
      <a:lvl2pPr marL="323850" indent="-161925" algn="l" rtl="0" eaLnBrk="0" fontAlgn="base" latinLnBrk="1" hangingPunct="0">
        <a:lnSpc>
          <a:spcPts val="1925"/>
        </a:lnSpc>
        <a:spcBef>
          <a:spcPts val="600"/>
        </a:spcBef>
        <a:spcAft>
          <a:spcPct val="0"/>
        </a:spcAft>
        <a:buSzPct val="85000"/>
        <a:buChar char="•"/>
        <a:defRPr sz="1600">
          <a:solidFill>
            <a:schemeClr val="bg2"/>
          </a:solidFill>
          <a:latin typeface="+mn-lt"/>
        </a:defRPr>
      </a:lvl2pPr>
      <a:lvl3pPr marL="485775" indent="-161925" algn="l" rtl="0" eaLnBrk="0" fontAlgn="base" latinLnBrk="1" hangingPunct="0">
        <a:lnSpc>
          <a:spcPts val="1925"/>
        </a:lnSpc>
        <a:spcBef>
          <a:spcPts val="600"/>
        </a:spcBef>
        <a:spcAft>
          <a:spcPct val="0"/>
        </a:spcAft>
        <a:buSzPct val="85000"/>
        <a:buChar char="•"/>
        <a:defRPr sz="1600">
          <a:solidFill>
            <a:schemeClr val="bg2"/>
          </a:solidFill>
          <a:latin typeface="+mn-lt"/>
        </a:defRPr>
      </a:lvl3pPr>
      <a:lvl4pPr marL="647700" indent="-161925" algn="l" rtl="0" eaLnBrk="0" fontAlgn="base" latinLnBrk="1" hangingPunct="0">
        <a:lnSpc>
          <a:spcPts val="1925"/>
        </a:lnSpc>
        <a:spcBef>
          <a:spcPts val="600"/>
        </a:spcBef>
        <a:spcAft>
          <a:spcPct val="0"/>
        </a:spcAft>
        <a:buSzPct val="85000"/>
        <a:buChar char="•"/>
        <a:defRPr sz="1600">
          <a:solidFill>
            <a:schemeClr val="bg2"/>
          </a:solidFill>
          <a:latin typeface="+mn-lt"/>
        </a:defRPr>
      </a:lvl4pPr>
      <a:lvl5pPr marL="809625" indent="-161925" algn="l" rtl="0" eaLnBrk="0" fontAlgn="base" latinLnBrk="1" hangingPunct="0">
        <a:lnSpc>
          <a:spcPts val="1925"/>
        </a:lnSpc>
        <a:spcBef>
          <a:spcPts val="600"/>
        </a:spcBef>
        <a:spcAft>
          <a:spcPct val="0"/>
        </a:spcAft>
        <a:buSzPct val="85000"/>
        <a:buChar char="•"/>
        <a:defRPr sz="1600">
          <a:solidFill>
            <a:schemeClr val="bg2"/>
          </a:solidFill>
          <a:latin typeface="+mn-lt"/>
        </a:defRPr>
      </a:lvl5pPr>
      <a:lvl6pPr marL="972000" indent="-162000" algn="l" rtl="0" eaLnBrk="1" fontAlgn="base" latinLnBrk="1" hangingPunct="1">
        <a:lnSpc>
          <a:spcPts val="1920"/>
        </a:lnSpc>
        <a:spcBef>
          <a:spcPts val="600"/>
        </a:spcBef>
        <a:spcAft>
          <a:spcPct val="0"/>
        </a:spcAft>
        <a:buSzPct val="85000"/>
        <a:buChar char="•"/>
        <a:tabLst/>
        <a:defRPr lang="en-US" sz="1600" dirty="0" smtClean="0">
          <a:solidFill>
            <a:schemeClr val="bg2"/>
          </a:solidFill>
          <a:latin typeface="+mn-lt"/>
        </a:defRPr>
      </a:lvl6pPr>
      <a:lvl7pPr marL="1134000" indent="-162000" algn="l" rtl="0" eaLnBrk="1" fontAlgn="base" latinLnBrk="1" hangingPunct="1">
        <a:spcBef>
          <a:spcPts val="600"/>
        </a:spcBef>
        <a:spcAft>
          <a:spcPct val="0"/>
        </a:spcAft>
        <a:buSzPct val="85000"/>
        <a:buChar char="•"/>
        <a:tabLst/>
        <a:defRPr lang="en-US" sz="1600" dirty="0" smtClean="0">
          <a:solidFill>
            <a:schemeClr val="bg2"/>
          </a:solidFill>
          <a:latin typeface="+mn-lt"/>
        </a:defRPr>
      </a:lvl7pPr>
      <a:lvl8pPr marL="2278063" indent="-177800" algn="l" rtl="0" eaLnBrk="1" fontAlgn="base" latinLnBrk="1" hangingPunct="1">
        <a:spcBef>
          <a:spcPct val="30000"/>
        </a:spcBef>
        <a:spcAft>
          <a:spcPct val="0"/>
        </a:spcAft>
        <a:buChar char="•"/>
        <a:tabLst>
          <a:tab pos="176213" algn="l"/>
        </a:tabLst>
        <a:defRPr>
          <a:solidFill>
            <a:schemeClr val="tx1"/>
          </a:solidFill>
          <a:latin typeface="+mn-lt"/>
        </a:defRPr>
      </a:lvl8pPr>
      <a:lvl9pPr marL="2735263" indent="-177800" algn="l" rtl="0" eaLnBrk="1" fontAlgn="base" latinLnBrk="1" hangingPunct="1">
        <a:spcBef>
          <a:spcPct val="30000"/>
        </a:spcBef>
        <a:spcAft>
          <a:spcPct val="0"/>
        </a:spcAft>
        <a:buChar char="•"/>
        <a:tabLst>
          <a:tab pos="176213" algn="l"/>
        </a:tabLst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3238" y="615950"/>
            <a:ext cx="8137525" cy="627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제목 스타일 편집</a:t>
            </a:r>
            <a:endParaRPr lang="en-GB" smtClean="0"/>
          </a:p>
        </p:txBody>
      </p:sp>
      <p:sp>
        <p:nvSpPr>
          <p:cNvPr id="266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3238" y="1514475"/>
            <a:ext cx="8137525" cy="4371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en-GB" smtClean="0"/>
          </a:p>
        </p:txBody>
      </p:sp>
      <p:sp>
        <p:nvSpPr>
          <p:cNvPr id="1070" name="Rectangle 4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2303463" y="6397625"/>
            <a:ext cx="1081087" cy="1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latinLnBrk="0">
              <a:defRPr kumimoji="0" sz="650">
                <a:solidFill>
                  <a:srgbClr val="6F6F6F"/>
                </a:solidFill>
                <a:ea typeface="+mn-ea"/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03B17FF7-F1E3-431F-BC9C-7515FC087AB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pic>
        <p:nvPicPr>
          <p:cNvPr id="26629" name="Picture 2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503238" y="6173788"/>
            <a:ext cx="124618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630" name="Picture 7" descr="6CPlogo_Blue_RGB_PP_41.png"/>
          <p:cNvPicPr>
            <a:picLocks noChangeAspect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7167563" y="6167438"/>
            <a:ext cx="1476375" cy="331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61" r:id="rId1"/>
    <p:sldLayoutId id="2147483862" r:id="rId2"/>
    <p:sldLayoutId id="2147483863" r:id="rId3"/>
    <p:sldLayoutId id="2147483864" r:id="rId4"/>
    <p:sldLayoutId id="2147483865" r:id="rId5"/>
    <p:sldLayoutId id="2147483866" r:id="rId6"/>
    <p:sldLayoutId id="2147483867" r:id="rId7"/>
    <p:sldLayoutId id="2147483868" r:id="rId8"/>
    <p:sldLayoutId id="2147483869" r:id="rId9"/>
    <p:sldLayoutId id="2147483870" r:id="rId10"/>
    <p:sldLayoutId id="2147483871" r:id="rId11"/>
    <p:sldLayoutId id="2147483872" r:id="rId12"/>
    <p:sldLayoutId id="2147483873" r:id="rId13"/>
    <p:sldLayoutId id="2147483874" r:id="rId14"/>
    <p:sldLayoutId id="2147483875" r:id="rId15"/>
  </p:sldLayoutIdLst>
  <p:hf hdr="0" ftr="0" dt="0"/>
  <p:txStyles>
    <p:titleStyle>
      <a:lvl1pPr algn="l" rtl="0" eaLnBrk="0" fontAlgn="base" latinLnBrk="1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latinLnBrk="1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2pPr>
      <a:lvl3pPr algn="l" rtl="0" eaLnBrk="0" fontAlgn="base" latinLnBrk="1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3pPr>
      <a:lvl4pPr algn="l" rtl="0" eaLnBrk="0" fontAlgn="base" latinLnBrk="1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4pPr>
      <a:lvl5pPr algn="l" rtl="0" eaLnBrk="0" fontAlgn="base" latinLnBrk="1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5pPr>
      <a:lvl6pPr marL="457200" algn="l" rtl="0" eaLnBrk="1" fontAlgn="base" latinLnBrk="1" hangingPunct="1">
        <a:lnSpc>
          <a:spcPct val="85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6pPr>
      <a:lvl7pPr marL="914400" algn="l" rtl="0" eaLnBrk="1" fontAlgn="base" latinLnBrk="1" hangingPunct="1">
        <a:lnSpc>
          <a:spcPct val="85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7pPr>
      <a:lvl8pPr marL="1371600" algn="l" rtl="0" eaLnBrk="1" fontAlgn="base" latinLnBrk="1" hangingPunct="1">
        <a:lnSpc>
          <a:spcPct val="85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8pPr>
      <a:lvl9pPr marL="1828800" algn="l" rtl="0" eaLnBrk="1" fontAlgn="base" latinLnBrk="1" hangingPunct="1">
        <a:lnSpc>
          <a:spcPct val="85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9pPr>
    </p:titleStyle>
    <p:bodyStyle>
      <a:lvl1pPr marL="161925" indent="-161925" algn="l" rtl="0" eaLnBrk="0" fontAlgn="base" latinLnBrk="1" hangingPunct="0">
        <a:lnSpc>
          <a:spcPts val="2163"/>
        </a:lnSpc>
        <a:spcBef>
          <a:spcPct val="30000"/>
        </a:spcBef>
        <a:spcAft>
          <a:spcPct val="0"/>
        </a:spcAft>
        <a:buSzPct val="85000"/>
        <a:buChar char="•"/>
        <a:defRPr>
          <a:solidFill>
            <a:schemeClr val="bg2"/>
          </a:solidFill>
          <a:latin typeface="+mn-lt"/>
          <a:ea typeface="+mn-ea"/>
          <a:cs typeface="+mn-cs"/>
        </a:defRPr>
      </a:lvl1pPr>
      <a:lvl2pPr marL="323850" indent="-161925" algn="l" rtl="0" eaLnBrk="0" fontAlgn="base" latinLnBrk="1" hangingPunct="0">
        <a:lnSpc>
          <a:spcPts val="1925"/>
        </a:lnSpc>
        <a:spcBef>
          <a:spcPts val="600"/>
        </a:spcBef>
        <a:spcAft>
          <a:spcPct val="0"/>
        </a:spcAft>
        <a:buSzPct val="85000"/>
        <a:buChar char="•"/>
        <a:defRPr sz="1600">
          <a:solidFill>
            <a:schemeClr val="bg2"/>
          </a:solidFill>
          <a:latin typeface="+mn-lt"/>
        </a:defRPr>
      </a:lvl2pPr>
      <a:lvl3pPr marL="485775" indent="-161925" algn="l" rtl="0" eaLnBrk="0" fontAlgn="base" latinLnBrk="1" hangingPunct="0">
        <a:lnSpc>
          <a:spcPts val="1925"/>
        </a:lnSpc>
        <a:spcBef>
          <a:spcPts val="600"/>
        </a:spcBef>
        <a:spcAft>
          <a:spcPct val="0"/>
        </a:spcAft>
        <a:buSzPct val="85000"/>
        <a:buChar char="•"/>
        <a:defRPr sz="1600">
          <a:solidFill>
            <a:schemeClr val="bg2"/>
          </a:solidFill>
          <a:latin typeface="+mn-lt"/>
        </a:defRPr>
      </a:lvl3pPr>
      <a:lvl4pPr marL="647700" indent="-161925" algn="l" rtl="0" eaLnBrk="0" fontAlgn="base" latinLnBrk="1" hangingPunct="0">
        <a:lnSpc>
          <a:spcPts val="1925"/>
        </a:lnSpc>
        <a:spcBef>
          <a:spcPts val="600"/>
        </a:spcBef>
        <a:spcAft>
          <a:spcPct val="0"/>
        </a:spcAft>
        <a:buSzPct val="85000"/>
        <a:buChar char="•"/>
        <a:defRPr sz="1600">
          <a:solidFill>
            <a:schemeClr val="bg2"/>
          </a:solidFill>
          <a:latin typeface="+mn-lt"/>
        </a:defRPr>
      </a:lvl4pPr>
      <a:lvl5pPr marL="809625" indent="-161925" algn="l" rtl="0" eaLnBrk="0" fontAlgn="base" latinLnBrk="1" hangingPunct="0">
        <a:lnSpc>
          <a:spcPts val="1925"/>
        </a:lnSpc>
        <a:spcBef>
          <a:spcPts val="600"/>
        </a:spcBef>
        <a:spcAft>
          <a:spcPct val="0"/>
        </a:spcAft>
        <a:buSzPct val="85000"/>
        <a:buChar char="•"/>
        <a:defRPr sz="1600">
          <a:solidFill>
            <a:schemeClr val="bg2"/>
          </a:solidFill>
          <a:latin typeface="+mn-lt"/>
        </a:defRPr>
      </a:lvl5pPr>
      <a:lvl6pPr marL="972000" indent="-162000" algn="l" rtl="0" eaLnBrk="1" fontAlgn="base" latinLnBrk="1" hangingPunct="1">
        <a:lnSpc>
          <a:spcPts val="1920"/>
        </a:lnSpc>
        <a:spcBef>
          <a:spcPts val="600"/>
        </a:spcBef>
        <a:spcAft>
          <a:spcPct val="0"/>
        </a:spcAft>
        <a:buSzPct val="85000"/>
        <a:buChar char="•"/>
        <a:tabLst/>
        <a:defRPr lang="en-US" sz="1600" dirty="0" smtClean="0">
          <a:solidFill>
            <a:schemeClr val="bg2"/>
          </a:solidFill>
          <a:latin typeface="+mn-lt"/>
        </a:defRPr>
      </a:lvl6pPr>
      <a:lvl7pPr marL="1134000" indent="-162000" algn="l" rtl="0" eaLnBrk="1" fontAlgn="base" latinLnBrk="1" hangingPunct="1">
        <a:spcBef>
          <a:spcPts val="600"/>
        </a:spcBef>
        <a:spcAft>
          <a:spcPct val="0"/>
        </a:spcAft>
        <a:buSzPct val="85000"/>
        <a:buChar char="•"/>
        <a:tabLst/>
        <a:defRPr lang="en-US" sz="1600" dirty="0" smtClean="0">
          <a:solidFill>
            <a:schemeClr val="bg2"/>
          </a:solidFill>
          <a:latin typeface="+mn-lt"/>
        </a:defRPr>
      </a:lvl7pPr>
      <a:lvl8pPr marL="2278063" indent="-177800" algn="l" rtl="0" eaLnBrk="1" fontAlgn="base" latinLnBrk="1" hangingPunct="1">
        <a:spcBef>
          <a:spcPct val="30000"/>
        </a:spcBef>
        <a:spcAft>
          <a:spcPct val="0"/>
        </a:spcAft>
        <a:buChar char="•"/>
        <a:tabLst>
          <a:tab pos="176213" algn="l"/>
        </a:tabLst>
        <a:defRPr>
          <a:solidFill>
            <a:schemeClr val="tx1"/>
          </a:solidFill>
          <a:latin typeface="+mn-lt"/>
        </a:defRPr>
      </a:lvl8pPr>
      <a:lvl9pPr marL="2735263" indent="-177800" algn="l" rtl="0" eaLnBrk="1" fontAlgn="base" latinLnBrk="1" hangingPunct="1">
        <a:spcBef>
          <a:spcPct val="30000"/>
        </a:spcBef>
        <a:spcAft>
          <a:spcPct val="0"/>
        </a:spcAft>
        <a:buChar char="•"/>
        <a:tabLst>
          <a:tab pos="176213" algn="l"/>
        </a:tabLst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3238" y="615950"/>
            <a:ext cx="8137525" cy="627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제목 스타일 편집</a:t>
            </a:r>
            <a:endParaRPr lang="en-GB" smtClean="0"/>
          </a:p>
        </p:txBody>
      </p:sp>
      <p:sp>
        <p:nvSpPr>
          <p:cNvPr id="4301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3238" y="1514475"/>
            <a:ext cx="8137525" cy="4371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en-GB" smtClean="0"/>
          </a:p>
        </p:txBody>
      </p:sp>
      <p:sp>
        <p:nvSpPr>
          <p:cNvPr id="1070" name="Rectangle 4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2303463" y="6397625"/>
            <a:ext cx="1081087" cy="1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latinLnBrk="0">
              <a:defRPr kumimoji="0" sz="650">
                <a:solidFill>
                  <a:srgbClr val="6F6F6F"/>
                </a:solidFill>
                <a:ea typeface="+mn-ea"/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B0376AAD-1109-4B5F-AB80-D180FAF6C1B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pic>
        <p:nvPicPr>
          <p:cNvPr id="43013" name="Picture 2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503238" y="6173788"/>
            <a:ext cx="124618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3014" name="Picture 7" descr="6CPlogo_Blue_RGB_PP_41.png"/>
          <p:cNvPicPr>
            <a:picLocks noChangeAspect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7167563" y="6167438"/>
            <a:ext cx="1476375" cy="331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76" r:id="rId1"/>
    <p:sldLayoutId id="2147483877" r:id="rId2"/>
    <p:sldLayoutId id="2147483878" r:id="rId3"/>
    <p:sldLayoutId id="2147483879" r:id="rId4"/>
    <p:sldLayoutId id="2147483880" r:id="rId5"/>
    <p:sldLayoutId id="2147483881" r:id="rId6"/>
    <p:sldLayoutId id="2147483882" r:id="rId7"/>
    <p:sldLayoutId id="2147483883" r:id="rId8"/>
    <p:sldLayoutId id="2147483884" r:id="rId9"/>
    <p:sldLayoutId id="2147483885" r:id="rId10"/>
    <p:sldLayoutId id="2147483886" r:id="rId11"/>
    <p:sldLayoutId id="2147483887" r:id="rId12"/>
    <p:sldLayoutId id="2147483888" r:id="rId13"/>
    <p:sldLayoutId id="2147483889" r:id="rId14"/>
    <p:sldLayoutId id="2147483890" r:id="rId15"/>
  </p:sldLayoutIdLst>
  <p:hf hdr="0" ftr="0" dt="0"/>
  <p:txStyles>
    <p:titleStyle>
      <a:lvl1pPr algn="l" rtl="0" eaLnBrk="0" fontAlgn="base" latinLnBrk="1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latinLnBrk="1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2pPr>
      <a:lvl3pPr algn="l" rtl="0" eaLnBrk="0" fontAlgn="base" latinLnBrk="1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3pPr>
      <a:lvl4pPr algn="l" rtl="0" eaLnBrk="0" fontAlgn="base" latinLnBrk="1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4pPr>
      <a:lvl5pPr algn="l" rtl="0" eaLnBrk="0" fontAlgn="base" latinLnBrk="1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5pPr>
      <a:lvl6pPr marL="457200" algn="l" rtl="0" eaLnBrk="1" fontAlgn="base" latinLnBrk="1" hangingPunct="1">
        <a:lnSpc>
          <a:spcPct val="85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6pPr>
      <a:lvl7pPr marL="914400" algn="l" rtl="0" eaLnBrk="1" fontAlgn="base" latinLnBrk="1" hangingPunct="1">
        <a:lnSpc>
          <a:spcPct val="85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7pPr>
      <a:lvl8pPr marL="1371600" algn="l" rtl="0" eaLnBrk="1" fontAlgn="base" latinLnBrk="1" hangingPunct="1">
        <a:lnSpc>
          <a:spcPct val="85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8pPr>
      <a:lvl9pPr marL="1828800" algn="l" rtl="0" eaLnBrk="1" fontAlgn="base" latinLnBrk="1" hangingPunct="1">
        <a:lnSpc>
          <a:spcPct val="85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9pPr>
    </p:titleStyle>
    <p:bodyStyle>
      <a:lvl1pPr marL="161925" indent="-161925" algn="l" rtl="0" eaLnBrk="0" fontAlgn="base" latinLnBrk="1" hangingPunct="0">
        <a:lnSpc>
          <a:spcPts val="2163"/>
        </a:lnSpc>
        <a:spcBef>
          <a:spcPct val="30000"/>
        </a:spcBef>
        <a:spcAft>
          <a:spcPct val="0"/>
        </a:spcAft>
        <a:buSzPct val="85000"/>
        <a:buChar char="•"/>
        <a:defRPr>
          <a:solidFill>
            <a:schemeClr val="bg2"/>
          </a:solidFill>
          <a:latin typeface="+mn-lt"/>
          <a:ea typeface="+mn-ea"/>
          <a:cs typeface="+mn-cs"/>
        </a:defRPr>
      </a:lvl1pPr>
      <a:lvl2pPr marL="323850" indent="-161925" algn="l" rtl="0" eaLnBrk="0" fontAlgn="base" latinLnBrk="1" hangingPunct="0">
        <a:lnSpc>
          <a:spcPts val="1925"/>
        </a:lnSpc>
        <a:spcBef>
          <a:spcPts val="600"/>
        </a:spcBef>
        <a:spcAft>
          <a:spcPct val="0"/>
        </a:spcAft>
        <a:buSzPct val="85000"/>
        <a:buChar char="•"/>
        <a:defRPr sz="1600">
          <a:solidFill>
            <a:schemeClr val="bg2"/>
          </a:solidFill>
          <a:latin typeface="+mn-lt"/>
        </a:defRPr>
      </a:lvl2pPr>
      <a:lvl3pPr marL="485775" indent="-161925" algn="l" rtl="0" eaLnBrk="0" fontAlgn="base" latinLnBrk="1" hangingPunct="0">
        <a:lnSpc>
          <a:spcPts val="1925"/>
        </a:lnSpc>
        <a:spcBef>
          <a:spcPts val="600"/>
        </a:spcBef>
        <a:spcAft>
          <a:spcPct val="0"/>
        </a:spcAft>
        <a:buSzPct val="85000"/>
        <a:buChar char="•"/>
        <a:defRPr sz="1600">
          <a:solidFill>
            <a:schemeClr val="bg2"/>
          </a:solidFill>
          <a:latin typeface="+mn-lt"/>
        </a:defRPr>
      </a:lvl3pPr>
      <a:lvl4pPr marL="647700" indent="-161925" algn="l" rtl="0" eaLnBrk="0" fontAlgn="base" latinLnBrk="1" hangingPunct="0">
        <a:lnSpc>
          <a:spcPts val="1925"/>
        </a:lnSpc>
        <a:spcBef>
          <a:spcPts val="600"/>
        </a:spcBef>
        <a:spcAft>
          <a:spcPct val="0"/>
        </a:spcAft>
        <a:buSzPct val="85000"/>
        <a:buChar char="•"/>
        <a:defRPr sz="1600">
          <a:solidFill>
            <a:schemeClr val="bg2"/>
          </a:solidFill>
          <a:latin typeface="+mn-lt"/>
        </a:defRPr>
      </a:lvl4pPr>
      <a:lvl5pPr marL="809625" indent="-161925" algn="l" rtl="0" eaLnBrk="0" fontAlgn="base" latinLnBrk="1" hangingPunct="0">
        <a:lnSpc>
          <a:spcPts val="1925"/>
        </a:lnSpc>
        <a:spcBef>
          <a:spcPts val="600"/>
        </a:spcBef>
        <a:spcAft>
          <a:spcPct val="0"/>
        </a:spcAft>
        <a:buSzPct val="85000"/>
        <a:buChar char="•"/>
        <a:defRPr sz="1600">
          <a:solidFill>
            <a:schemeClr val="bg2"/>
          </a:solidFill>
          <a:latin typeface="+mn-lt"/>
        </a:defRPr>
      </a:lvl5pPr>
      <a:lvl6pPr marL="972000" indent="-162000" algn="l" rtl="0" eaLnBrk="1" fontAlgn="base" latinLnBrk="1" hangingPunct="1">
        <a:lnSpc>
          <a:spcPts val="1920"/>
        </a:lnSpc>
        <a:spcBef>
          <a:spcPts val="600"/>
        </a:spcBef>
        <a:spcAft>
          <a:spcPct val="0"/>
        </a:spcAft>
        <a:buSzPct val="85000"/>
        <a:buChar char="•"/>
        <a:tabLst/>
        <a:defRPr lang="en-US" sz="1600" dirty="0" smtClean="0">
          <a:solidFill>
            <a:schemeClr val="bg2"/>
          </a:solidFill>
          <a:latin typeface="+mn-lt"/>
        </a:defRPr>
      </a:lvl6pPr>
      <a:lvl7pPr marL="1134000" indent="-162000" algn="l" rtl="0" eaLnBrk="1" fontAlgn="base" latinLnBrk="1" hangingPunct="1">
        <a:spcBef>
          <a:spcPts val="600"/>
        </a:spcBef>
        <a:spcAft>
          <a:spcPct val="0"/>
        </a:spcAft>
        <a:buSzPct val="85000"/>
        <a:buChar char="•"/>
        <a:tabLst/>
        <a:defRPr lang="en-US" sz="1600" dirty="0" smtClean="0">
          <a:solidFill>
            <a:schemeClr val="bg2"/>
          </a:solidFill>
          <a:latin typeface="+mn-lt"/>
        </a:defRPr>
      </a:lvl7pPr>
      <a:lvl8pPr marL="2278063" indent="-177800" algn="l" rtl="0" eaLnBrk="1" fontAlgn="base" latinLnBrk="1" hangingPunct="1">
        <a:spcBef>
          <a:spcPct val="30000"/>
        </a:spcBef>
        <a:spcAft>
          <a:spcPct val="0"/>
        </a:spcAft>
        <a:buChar char="•"/>
        <a:tabLst>
          <a:tab pos="176213" algn="l"/>
        </a:tabLst>
        <a:defRPr>
          <a:solidFill>
            <a:schemeClr val="tx1"/>
          </a:solidFill>
          <a:latin typeface="+mn-lt"/>
        </a:defRPr>
      </a:lvl8pPr>
      <a:lvl9pPr marL="2735263" indent="-177800" algn="l" rtl="0" eaLnBrk="1" fontAlgn="base" latinLnBrk="1" hangingPunct="1">
        <a:spcBef>
          <a:spcPct val="30000"/>
        </a:spcBef>
        <a:spcAft>
          <a:spcPct val="0"/>
        </a:spcAft>
        <a:buChar char="•"/>
        <a:tabLst>
          <a:tab pos="176213" algn="l"/>
        </a:tabLst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3238" y="615950"/>
            <a:ext cx="8137525" cy="627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제목 스타일 편집</a:t>
            </a:r>
            <a:endParaRPr lang="en-GB" smtClean="0"/>
          </a:p>
        </p:txBody>
      </p:sp>
      <p:sp>
        <p:nvSpPr>
          <p:cNvPr id="5939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3238" y="1514475"/>
            <a:ext cx="8137525" cy="4371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en-GB" smtClean="0"/>
          </a:p>
        </p:txBody>
      </p:sp>
      <p:sp>
        <p:nvSpPr>
          <p:cNvPr id="1070" name="Rectangle 4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2303463" y="6397625"/>
            <a:ext cx="1081087" cy="1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latinLnBrk="0">
              <a:defRPr kumimoji="0" sz="650">
                <a:solidFill>
                  <a:srgbClr val="6F6F6F"/>
                </a:solidFill>
                <a:ea typeface="+mn-ea"/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7C867E8D-35AA-4B58-805D-C3A5A1F3B26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pic>
        <p:nvPicPr>
          <p:cNvPr id="59397" name="Picture 2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503238" y="6173788"/>
            <a:ext cx="124618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9398" name="Picture 7" descr="6CPlogo_Blue_RGB_PP_41.png"/>
          <p:cNvPicPr>
            <a:picLocks noChangeAspect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7167563" y="6167438"/>
            <a:ext cx="1476375" cy="331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91" r:id="rId1"/>
    <p:sldLayoutId id="2147483892" r:id="rId2"/>
    <p:sldLayoutId id="2147483893" r:id="rId3"/>
    <p:sldLayoutId id="2147483894" r:id="rId4"/>
    <p:sldLayoutId id="2147483895" r:id="rId5"/>
    <p:sldLayoutId id="2147483896" r:id="rId6"/>
    <p:sldLayoutId id="2147483897" r:id="rId7"/>
    <p:sldLayoutId id="2147483898" r:id="rId8"/>
    <p:sldLayoutId id="2147483899" r:id="rId9"/>
    <p:sldLayoutId id="2147483900" r:id="rId10"/>
    <p:sldLayoutId id="2147483901" r:id="rId11"/>
    <p:sldLayoutId id="2147483902" r:id="rId12"/>
    <p:sldLayoutId id="2147483903" r:id="rId13"/>
    <p:sldLayoutId id="2147483904" r:id="rId14"/>
    <p:sldLayoutId id="2147483905" r:id="rId15"/>
  </p:sldLayoutIdLst>
  <p:hf hdr="0" ftr="0" dt="0"/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9pPr>
    </p:titleStyle>
    <p:bodyStyle>
      <a:lvl1pPr marL="161925" indent="-161925" algn="l" rtl="0" eaLnBrk="0" fontAlgn="base" hangingPunct="0">
        <a:lnSpc>
          <a:spcPts val="2163"/>
        </a:lnSpc>
        <a:spcBef>
          <a:spcPct val="30000"/>
        </a:spcBef>
        <a:spcAft>
          <a:spcPct val="0"/>
        </a:spcAft>
        <a:buSzPct val="85000"/>
        <a:buChar char="•"/>
        <a:defRPr>
          <a:solidFill>
            <a:schemeClr val="bg2"/>
          </a:solidFill>
          <a:latin typeface="+mn-lt"/>
          <a:ea typeface="+mn-ea"/>
          <a:cs typeface="+mn-cs"/>
        </a:defRPr>
      </a:lvl1pPr>
      <a:lvl2pPr marL="323850" indent="-161925" algn="l" rtl="0" eaLnBrk="0" fontAlgn="base" hangingPunct="0">
        <a:lnSpc>
          <a:spcPts val="1925"/>
        </a:lnSpc>
        <a:spcBef>
          <a:spcPts val="600"/>
        </a:spcBef>
        <a:spcAft>
          <a:spcPct val="0"/>
        </a:spcAft>
        <a:buSzPct val="85000"/>
        <a:buChar char="•"/>
        <a:defRPr sz="1600">
          <a:solidFill>
            <a:schemeClr val="bg2"/>
          </a:solidFill>
          <a:latin typeface="+mn-lt"/>
        </a:defRPr>
      </a:lvl2pPr>
      <a:lvl3pPr marL="485775" indent="-161925" algn="l" rtl="0" eaLnBrk="0" fontAlgn="base" hangingPunct="0">
        <a:lnSpc>
          <a:spcPts val="1925"/>
        </a:lnSpc>
        <a:spcBef>
          <a:spcPts val="600"/>
        </a:spcBef>
        <a:spcAft>
          <a:spcPct val="0"/>
        </a:spcAft>
        <a:buSzPct val="85000"/>
        <a:buChar char="•"/>
        <a:defRPr sz="1600">
          <a:solidFill>
            <a:schemeClr val="bg2"/>
          </a:solidFill>
          <a:latin typeface="+mn-lt"/>
        </a:defRPr>
      </a:lvl3pPr>
      <a:lvl4pPr marL="647700" indent="-161925" algn="l" rtl="0" eaLnBrk="0" fontAlgn="base" hangingPunct="0">
        <a:lnSpc>
          <a:spcPts val="1925"/>
        </a:lnSpc>
        <a:spcBef>
          <a:spcPts val="600"/>
        </a:spcBef>
        <a:spcAft>
          <a:spcPct val="0"/>
        </a:spcAft>
        <a:buSzPct val="85000"/>
        <a:buChar char="•"/>
        <a:defRPr sz="1600">
          <a:solidFill>
            <a:schemeClr val="bg2"/>
          </a:solidFill>
          <a:latin typeface="+mn-lt"/>
        </a:defRPr>
      </a:lvl4pPr>
      <a:lvl5pPr marL="809625" indent="-161925" algn="l" rtl="0" eaLnBrk="0" fontAlgn="base" hangingPunct="0">
        <a:lnSpc>
          <a:spcPts val="1925"/>
        </a:lnSpc>
        <a:spcBef>
          <a:spcPts val="600"/>
        </a:spcBef>
        <a:spcAft>
          <a:spcPct val="0"/>
        </a:spcAft>
        <a:buSzPct val="85000"/>
        <a:buChar char="•"/>
        <a:defRPr sz="1600">
          <a:solidFill>
            <a:schemeClr val="bg2"/>
          </a:solidFill>
          <a:latin typeface="+mn-lt"/>
        </a:defRPr>
      </a:lvl5pPr>
      <a:lvl6pPr marL="972000" indent="-162000" algn="l" rtl="0" eaLnBrk="1" fontAlgn="base" hangingPunct="1">
        <a:lnSpc>
          <a:spcPts val="1920"/>
        </a:lnSpc>
        <a:spcBef>
          <a:spcPts val="600"/>
        </a:spcBef>
        <a:spcAft>
          <a:spcPct val="0"/>
        </a:spcAft>
        <a:buSzPct val="85000"/>
        <a:buChar char="•"/>
        <a:tabLst/>
        <a:defRPr lang="en-US" sz="1600" dirty="0" smtClean="0">
          <a:solidFill>
            <a:schemeClr val="bg2"/>
          </a:solidFill>
          <a:latin typeface="+mn-lt"/>
        </a:defRPr>
      </a:lvl6pPr>
      <a:lvl7pPr marL="1134000" indent="-162000" algn="l" rtl="0" eaLnBrk="1" fontAlgn="base" hangingPunct="1">
        <a:spcBef>
          <a:spcPts val="600"/>
        </a:spcBef>
        <a:spcAft>
          <a:spcPct val="0"/>
        </a:spcAft>
        <a:buSzPct val="85000"/>
        <a:buChar char="•"/>
        <a:tabLst/>
        <a:defRPr lang="en-US" sz="1600" dirty="0" smtClean="0">
          <a:solidFill>
            <a:schemeClr val="bg2"/>
          </a:solidFill>
          <a:latin typeface="+mn-lt"/>
        </a:defRPr>
      </a:lvl7pPr>
      <a:lvl8pPr marL="2278063" indent="-177800" algn="l" rtl="0" eaLnBrk="1" fontAlgn="base" hangingPunct="1">
        <a:spcBef>
          <a:spcPct val="30000"/>
        </a:spcBef>
        <a:spcAft>
          <a:spcPct val="0"/>
        </a:spcAft>
        <a:buChar char="•"/>
        <a:tabLst>
          <a:tab pos="176213" algn="l"/>
        </a:tabLst>
        <a:defRPr>
          <a:solidFill>
            <a:schemeClr val="tx1"/>
          </a:solidFill>
          <a:latin typeface="+mn-lt"/>
        </a:defRPr>
      </a:lvl8pPr>
      <a:lvl9pPr marL="2735263" indent="-177800" algn="l" rtl="0" eaLnBrk="1" fontAlgn="base" hangingPunct="1">
        <a:spcBef>
          <a:spcPct val="30000"/>
        </a:spcBef>
        <a:spcAft>
          <a:spcPct val="0"/>
        </a:spcAft>
        <a:buChar char="•"/>
        <a:tabLst>
          <a:tab pos="176213" algn="l"/>
        </a:tabLst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3238" y="615950"/>
            <a:ext cx="8137525" cy="627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제목 스타일 편집</a:t>
            </a:r>
            <a:endParaRPr lang="en-GB" smtClean="0"/>
          </a:p>
        </p:txBody>
      </p:sp>
      <p:sp>
        <p:nvSpPr>
          <p:cNvPr id="7577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3238" y="1514475"/>
            <a:ext cx="8137525" cy="4371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en-GB" smtClean="0"/>
          </a:p>
        </p:txBody>
      </p:sp>
      <p:sp>
        <p:nvSpPr>
          <p:cNvPr id="1070" name="Rectangle 4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2303463" y="6397625"/>
            <a:ext cx="1081087" cy="1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latinLnBrk="0">
              <a:defRPr kumimoji="0" sz="650">
                <a:solidFill>
                  <a:srgbClr val="6F6F6F"/>
                </a:solidFill>
                <a:ea typeface="+mn-ea"/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18DE00C5-E23F-48E5-8DA1-5F465647A63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pic>
        <p:nvPicPr>
          <p:cNvPr id="75781" name="Picture 2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503238" y="6173788"/>
            <a:ext cx="124618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5782" name="Picture 7" descr="6CPlogo_Blue_RGB_PP_41.png"/>
          <p:cNvPicPr>
            <a:picLocks noChangeAspect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7167563" y="6167438"/>
            <a:ext cx="1476375" cy="331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06" r:id="rId1"/>
    <p:sldLayoutId id="2147483907" r:id="rId2"/>
    <p:sldLayoutId id="2147483908" r:id="rId3"/>
    <p:sldLayoutId id="2147483909" r:id="rId4"/>
    <p:sldLayoutId id="2147483910" r:id="rId5"/>
    <p:sldLayoutId id="2147483911" r:id="rId6"/>
    <p:sldLayoutId id="2147483912" r:id="rId7"/>
    <p:sldLayoutId id="2147483913" r:id="rId8"/>
    <p:sldLayoutId id="2147483914" r:id="rId9"/>
    <p:sldLayoutId id="2147483915" r:id="rId10"/>
    <p:sldLayoutId id="2147483916" r:id="rId11"/>
    <p:sldLayoutId id="2147483917" r:id="rId12"/>
    <p:sldLayoutId id="2147483918" r:id="rId13"/>
    <p:sldLayoutId id="2147483919" r:id="rId14"/>
    <p:sldLayoutId id="2147483920" r:id="rId15"/>
  </p:sldLayoutIdLst>
  <p:hf hdr="0" ftr="0" dt="0"/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9pPr>
    </p:titleStyle>
    <p:bodyStyle>
      <a:lvl1pPr marL="161925" indent="-161925" algn="l" rtl="0" eaLnBrk="0" fontAlgn="base" hangingPunct="0">
        <a:lnSpc>
          <a:spcPts val="2163"/>
        </a:lnSpc>
        <a:spcBef>
          <a:spcPct val="30000"/>
        </a:spcBef>
        <a:spcAft>
          <a:spcPct val="0"/>
        </a:spcAft>
        <a:buSzPct val="85000"/>
        <a:buChar char="•"/>
        <a:defRPr>
          <a:solidFill>
            <a:schemeClr val="bg2"/>
          </a:solidFill>
          <a:latin typeface="+mn-lt"/>
          <a:ea typeface="+mn-ea"/>
          <a:cs typeface="+mn-cs"/>
        </a:defRPr>
      </a:lvl1pPr>
      <a:lvl2pPr marL="323850" indent="-161925" algn="l" rtl="0" eaLnBrk="0" fontAlgn="base" hangingPunct="0">
        <a:lnSpc>
          <a:spcPts val="1925"/>
        </a:lnSpc>
        <a:spcBef>
          <a:spcPts val="600"/>
        </a:spcBef>
        <a:spcAft>
          <a:spcPct val="0"/>
        </a:spcAft>
        <a:buSzPct val="85000"/>
        <a:buChar char="•"/>
        <a:defRPr sz="1600">
          <a:solidFill>
            <a:schemeClr val="bg2"/>
          </a:solidFill>
          <a:latin typeface="+mn-lt"/>
        </a:defRPr>
      </a:lvl2pPr>
      <a:lvl3pPr marL="485775" indent="-161925" algn="l" rtl="0" eaLnBrk="0" fontAlgn="base" hangingPunct="0">
        <a:lnSpc>
          <a:spcPts val="1925"/>
        </a:lnSpc>
        <a:spcBef>
          <a:spcPts val="600"/>
        </a:spcBef>
        <a:spcAft>
          <a:spcPct val="0"/>
        </a:spcAft>
        <a:buSzPct val="85000"/>
        <a:buChar char="•"/>
        <a:defRPr sz="1600">
          <a:solidFill>
            <a:schemeClr val="bg2"/>
          </a:solidFill>
          <a:latin typeface="+mn-lt"/>
        </a:defRPr>
      </a:lvl3pPr>
      <a:lvl4pPr marL="647700" indent="-161925" algn="l" rtl="0" eaLnBrk="0" fontAlgn="base" hangingPunct="0">
        <a:lnSpc>
          <a:spcPts val="1925"/>
        </a:lnSpc>
        <a:spcBef>
          <a:spcPts val="600"/>
        </a:spcBef>
        <a:spcAft>
          <a:spcPct val="0"/>
        </a:spcAft>
        <a:buSzPct val="85000"/>
        <a:buChar char="•"/>
        <a:defRPr sz="1600">
          <a:solidFill>
            <a:schemeClr val="bg2"/>
          </a:solidFill>
          <a:latin typeface="+mn-lt"/>
        </a:defRPr>
      </a:lvl4pPr>
      <a:lvl5pPr marL="809625" indent="-161925" algn="l" rtl="0" eaLnBrk="0" fontAlgn="base" hangingPunct="0">
        <a:lnSpc>
          <a:spcPts val="1925"/>
        </a:lnSpc>
        <a:spcBef>
          <a:spcPts val="600"/>
        </a:spcBef>
        <a:spcAft>
          <a:spcPct val="0"/>
        </a:spcAft>
        <a:buSzPct val="85000"/>
        <a:buChar char="•"/>
        <a:defRPr sz="1600">
          <a:solidFill>
            <a:schemeClr val="bg2"/>
          </a:solidFill>
          <a:latin typeface="+mn-lt"/>
        </a:defRPr>
      </a:lvl5pPr>
      <a:lvl6pPr marL="972000" indent="-162000" algn="l" rtl="0" eaLnBrk="1" fontAlgn="base" hangingPunct="1">
        <a:lnSpc>
          <a:spcPts val="1920"/>
        </a:lnSpc>
        <a:spcBef>
          <a:spcPts val="600"/>
        </a:spcBef>
        <a:spcAft>
          <a:spcPct val="0"/>
        </a:spcAft>
        <a:buSzPct val="85000"/>
        <a:buChar char="•"/>
        <a:tabLst/>
        <a:defRPr lang="en-US" sz="1600" dirty="0" smtClean="0">
          <a:solidFill>
            <a:schemeClr val="bg2"/>
          </a:solidFill>
          <a:latin typeface="+mn-lt"/>
        </a:defRPr>
      </a:lvl6pPr>
      <a:lvl7pPr marL="1134000" indent="-162000" algn="l" rtl="0" eaLnBrk="1" fontAlgn="base" hangingPunct="1">
        <a:spcBef>
          <a:spcPts val="600"/>
        </a:spcBef>
        <a:spcAft>
          <a:spcPct val="0"/>
        </a:spcAft>
        <a:buSzPct val="85000"/>
        <a:buChar char="•"/>
        <a:tabLst/>
        <a:defRPr lang="en-US" sz="1600" dirty="0" smtClean="0">
          <a:solidFill>
            <a:schemeClr val="bg2"/>
          </a:solidFill>
          <a:latin typeface="+mn-lt"/>
        </a:defRPr>
      </a:lvl7pPr>
      <a:lvl8pPr marL="2278063" indent="-177800" algn="l" rtl="0" eaLnBrk="1" fontAlgn="base" hangingPunct="1">
        <a:spcBef>
          <a:spcPct val="30000"/>
        </a:spcBef>
        <a:spcAft>
          <a:spcPct val="0"/>
        </a:spcAft>
        <a:buChar char="•"/>
        <a:tabLst>
          <a:tab pos="176213" algn="l"/>
        </a:tabLst>
        <a:defRPr>
          <a:solidFill>
            <a:schemeClr val="tx1"/>
          </a:solidFill>
          <a:latin typeface="+mn-lt"/>
        </a:defRPr>
      </a:lvl8pPr>
      <a:lvl9pPr marL="2735263" indent="-177800" algn="l" rtl="0" eaLnBrk="1" fontAlgn="base" hangingPunct="1">
        <a:spcBef>
          <a:spcPct val="30000"/>
        </a:spcBef>
        <a:spcAft>
          <a:spcPct val="0"/>
        </a:spcAft>
        <a:buChar char="•"/>
        <a:tabLst>
          <a:tab pos="176213" algn="l"/>
        </a:tabLst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3238" y="615950"/>
            <a:ext cx="8137525" cy="627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제목 스타일 편집</a:t>
            </a:r>
            <a:endParaRPr lang="en-GB" smtClean="0"/>
          </a:p>
        </p:txBody>
      </p:sp>
      <p:sp>
        <p:nvSpPr>
          <p:cNvPr id="9216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3238" y="1514475"/>
            <a:ext cx="8137525" cy="4371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en-GB" smtClean="0"/>
          </a:p>
        </p:txBody>
      </p:sp>
      <p:sp>
        <p:nvSpPr>
          <p:cNvPr id="1070" name="Rectangle 4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2303463" y="6397625"/>
            <a:ext cx="1081087" cy="1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latinLnBrk="0">
              <a:defRPr kumimoji="0" sz="650">
                <a:solidFill>
                  <a:srgbClr val="6F6F6F"/>
                </a:solidFill>
                <a:ea typeface="+mn-ea"/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995E59C2-0EA3-423A-B3A5-E75E9374DFD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pic>
        <p:nvPicPr>
          <p:cNvPr id="92165" name="Picture 2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503238" y="6173788"/>
            <a:ext cx="124618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2166" name="Picture 7" descr="6CPlogo_Blue_RGB_PP_41.png"/>
          <p:cNvPicPr>
            <a:picLocks noChangeAspect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7167563" y="6167438"/>
            <a:ext cx="1476375" cy="331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1" r:id="rId1"/>
    <p:sldLayoutId id="2147483922" r:id="rId2"/>
    <p:sldLayoutId id="2147483923" r:id="rId3"/>
    <p:sldLayoutId id="2147483924" r:id="rId4"/>
    <p:sldLayoutId id="2147483925" r:id="rId5"/>
    <p:sldLayoutId id="2147483926" r:id="rId6"/>
    <p:sldLayoutId id="2147483927" r:id="rId7"/>
    <p:sldLayoutId id="2147483928" r:id="rId8"/>
    <p:sldLayoutId id="2147483929" r:id="rId9"/>
    <p:sldLayoutId id="2147483930" r:id="rId10"/>
    <p:sldLayoutId id="2147483931" r:id="rId11"/>
    <p:sldLayoutId id="2147483932" r:id="rId12"/>
    <p:sldLayoutId id="2147483933" r:id="rId13"/>
    <p:sldLayoutId id="2147483934" r:id="rId14"/>
    <p:sldLayoutId id="2147483935" r:id="rId15"/>
  </p:sldLayoutIdLst>
  <p:hf hdr="0" ftr="0" dt="0"/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9pPr>
    </p:titleStyle>
    <p:bodyStyle>
      <a:lvl1pPr marL="161925" indent="-161925" algn="l" rtl="0" eaLnBrk="0" fontAlgn="base" hangingPunct="0">
        <a:lnSpc>
          <a:spcPts val="2163"/>
        </a:lnSpc>
        <a:spcBef>
          <a:spcPct val="30000"/>
        </a:spcBef>
        <a:spcAft>
          <a:spcPct val="0"/>
        </a:spcAft>
        <a:buSzPct val="85000"/>
        <a:buChar char="•"/>
        <a:defRPr>
          <a:solidFill>
            <a:schemeClr val="bg2"/>
          </a:solidFill>
          <a:latin typeface="+mn-lt"/>
          <a:ea typeface="+mn-ea"/>
          <a:cs typeface="+mn-cs"/>
        </a:defRPr>
      </a:lvl1pPr>
      <a:lvl2pPr marL="323850" indent="-161925" algn="l" rtl="0" eaLnBrk="0" fontAlgn="base" hangingPunct="0">
        <a:lnSpc>
          <a:spcPts val="1925"/>
        </a:lnSpc>
        <a:spcBef>
          <a:spcPts val="600"/>
        </a:spcBef>
        <a:spcAft>
          <a:spcPct val="0"/>
        </a:spcAft>
        <a:buSzPct val="85000"/>
        <a:buChar char="•"/>
        <a:defRPr sz="1600">
          <a:solidFill>
            <a:schemeClr val="bg2"/>
          </a:solidFill>
          <a:latin typeface="+mn-lt"/>
        </a:defRPr>
      </a:lvl2pPr>
      <a:lvl3pPr marL="485775" indent="-161925" algn="l" rtl="0" eaLnBrk="0" fontAlgn="base" hangingPunct="0">
        <a:lnSpc>
          <a:spcPts val="1925"/>
        </a:lnSpc>
        <a:spcBef>
          <a:spcPts val="600"/>
        </a:spcBef>
        <a:spcAft>
          <a:spcPct val="0"/>
        </a:spcAft>
        <a:buSzPct val="85000"/>
        <a:buChar char="•"/>
        <a:defRPr sz="1600">
          <a:solidFill>
            <a:schemeClr val="bg2"/>
          </a:solidFill>
          <a:latin typeface="+mn-lt"/>
        </a:defRPr>
      </a:lvl3pPr>
      <a:lvl4pPr marL="647700" indent="-161925" algn="l" rtl="0" eaLnBrk="0" fontAlgn="base" hangingPunct="0">
        <a:lnSpc>
          <a:spcPts val="1925"/>
        </a:lnSpc>
        <a:spcBef>
          <a:spcPts val="600"/>
        </a:spcBef>
        <a:spcAft>
          <a:spcPct val="0"/>
        </a:spcAft>
        <a:buSzPct val="85000"/>
        <a:buChar char="•"/>
        <a:defRPr sz="1600">
          <a:solidFill>
            <a:schemeClr val="bg2"/>
          </a:solidFill>
          <a:latin typeface="+mn-lt"/>
        </a:defRPr>
      </a:lvl4pPr>
      <a:lvl5pPr marL="809625" indent="-161925" algn="l" rtl="0" eaLnBrk="0" fontAlgn="base" hangingPunct="0">
        <a:lnSpc>
          <a:spcPts val="1925"/>
        </a:lnSpc>
        <a:spcBef>
          <a:spcPts val="600"/>
        </a:spcBef>
        <a:spcAft>
          <a:spcPct val="0"/>
        </a:spcAft>
        <a:buSzPct val="85000"/>
        <a:buChar char="•"/>
        <a:defRPr sz="1600">
          <a:solidFill>
            <a:schemeClr val="bg2"/>
          </a:solidFill>
          <a:latin typeface="+mn-lt"/>
        </a:defRPr>
      </a:lvl5pPr>
      <a:lvl6pPr marL="972000" indent="-162000" algn="l" rtl="0" eaLnBrk="1" fontAlgn="base" hangingPunct="1">
        <a:lnSpc>
          <a:spcPts val="1920"/>
        </a:lnSpc>
        <a:spcBef>
          <a:spcPts val="600"/>
        </a:spcBef>
        <a:spcAft>
          <a:spcPct val="0"/>
        </a:spcAft>
        <a:buSzPct val="85000"/>
        <a:buChar char="•"/>
        <a:tabLst/>
        <a:defRPr lang="en-US" sz="1600" dirty="0" smtClean="0">
          <a:solidFill>
            <a:schemeClr val="bg2"/>
          </a:solidFill>
          <a:latin typeface="+mn-lt"/>
        </a:defRPr>
      </a:lvl6pPr>
      <a:lvl7pPr marL="1134000" indent="-162000" algn="l" rtl="0" eaLnBrk="1" fontAlgn="base" hangingPunct="1">
        <a:spcBef>
          <a:spcPts val="600"/>
        </a:spcBef>
        <a:spcAft>
          <a:spcPct val="0"/>
        </a:spcAft>
        <a:buSzPct val="85000"/>
        <a:buChar char="•"/>
        <a:tabLst/>
        <a:defRPr lang="en-US" sz="1600" dirty="0" smtClean="0">
          <a:solidFill>
            <a:schemeClr val="bg2"/>
          </a:solidFill>
          <a:latin typeface="+mn-lt"/>
        </a:defRPr>
      </a:lvl7pPr>
      <a:lvl8pPr marL="2278063" indent="-177800" algn="l" rtl="0" eaLnBrk="1" fontAlgn="base" hangingPunct="1">
        <a:spcBef>
          <a:spcPct val="30000"/>
        </a:spcBef>
        <a:spcAft>
          <a:spcPct val="0"/>
        </a:spcAft>
        <a:buChar char="•"/>
        <a:tabLst>
          <a:tab pos="176213" algn="l"/>
        </a:tabLst>
        <a:defRPr>
          <a:solidFill>
            <a:schemeClr val="tx1"/>
          </a:solidFill>
          <a:latin typeface="+mn-lt"/>
        </a:defRPr>
      </a:lvl8pPr>
      <a:lvl9pPr marL="2735263" indent="-177800" algn="l" rtl="0" eaLnBrk="1" fontAlgn="base" hangingPunct="1">
        <a:spcBef>
          <a:spcPct val="30000"/>
        </a:spcBef>
        <a:spcAft>
          <a:spcPct val="0"/>
        </a:spcAft>
        <a:buChar char="•"/>
        <a:tabLst>
          <a:tab pos="176213" algn="l"/>
        </a:tabLst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.xml"/><Relationship Id="rId4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2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7.jpeg"/><Relationship Id="rId5" Type="http://schemas.openxmlformats.org/officeDocument/2006/relationships/image" Target="../media/image16.jpeg"/><Relationship Id="rId4" Type="http://schemas.openxmlformats.org/officeDocument/2006/relationships/image" Target="../media/image15.jpe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2.jpeg"/><Relationship Id="rId4" Type="http://schemas.openxmlformats.org/officeDocument/2006/relationships/image" Target="../media/image21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0.jpeg"/><Relationship Id="rId4" Type="http://schemas.openxmlformats.org/officeDocument/2006/relationships/image" Target="../media/image29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3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6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0.jpeg"/><Relationship Id="rId4" Type="http://schemas.openxmlformats.org/officeDocument/2006/relationships/image" Target="../media/image39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69" name="Rectangle 31"/>
          <p:cNvSpPr>
            <a:spLocks noGrp="1" noChangeArrowheads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554BEC6A-69CA-417C-8D28-9796DEF7499C}" type="slidenum">
              <a:rPr lang="en-GB" altLang="ko-KR" smtClean="0">
                <a:ea typeface="굴림" charset="-127"/>
              </a:rPr>
              <a:pPr/>
              <a:t>1</a:t>
            </a:fld>
            <a:endParaRPr lang="en-GB" altLang="ko-KR" smtClean="0">
              <a:ea typeface="굴림" charset="-127"/>
            </a:endParaRPr>
          </a:p>
        </p:txBody>
      </p:sp>
      <p:sp>
        <p:nvSpPr>
          <p:cNvPr id="109570" name="Rectangle 32"/>
          <p:cNvSpPr>
            <a:spLocks noGrp="1" noChangeArrowheads="1"/>
          </p:cNvSpPr>
          <p:nvPr>
            <p:ph type="dt" sz="quarter" idx="11"/>
          </p:nvPr>
        </p:nvSpPr>
        <p:spPr>
          <a:noFill/>
        </p:spPr>
        <p:txBody>
          <a:bodyPr/>
          <a:lstStyle/>
          <a:p>
            <a:fld id="{5EF167A3-31FD-4BE7-BA70-DA1A3741F7AE}" type="datetime4">
              <a:rPr lang="en-GB" altLang="ko-KR" smtClean="0">
                <a:ea typeface="굴림" charset="-127"/>
              </a:rPr>
              <a:pPr/>
              <a:t>20 March 2017</a:t>
            </a:fld>
            <a:endParaRPr lang="en-GB" altLang="ko-KR" smtClean="0">
              <a:ea typeface="굴림" charset="-127"/>
            </a:endParaRPr>
          </a:p>
        </p:txBody>
      </p:sp>
      <p:sp>
        <p:nvSpPr>
          <p:cNvPr id="109571" name="Rectangle 2"/>
          <p:cNvSpPr>
            <a:spLocks noGrp="1" noChangeArrowheads="1"/>
          </p:cNvSpPr>
          <p:nvPr>
            <p:ph type="ctrTitle" idx="4294967295"/>
          </p:nvPr>
        </p:nvSpPr>
        <p:spPr>
          <a:xfrm>
            <a:off x="863600" y="2438400"/>
            <a:ext cx="7413625" cy="1871663"/>
          </a:xfrm>
        </p:spPr>
        <p:txBody>
          <a:bodyPr/>
          <a:lstStyle/>
          <a:p>
            <a:pPr algn="r" eaLnBrk="1" hangingPunct="1">
              <a:lnSpc>
                <a:spcPct val="90000"/>
              </a:lnSpc>
            </a:pPr>
            <a:r>
              <a:rPr lang="da-DK" altLang="ko-KR" sz="2400" b="1" smtClean="0">
                <a:ea typeface="굴림" charset="-127"/>
              </a:rPr>
              <a:t/>
            </a:r>
            <a:br>
              <a:rPr lang="da-DK" altLang="ko-KR" sz="2400" b="1" smtClean="0">
                <a:ea typeface="굴림" charset="-127"/>
              </a:rPr>
            </a:br>
            <a:r>
              <a:rPr lang="da-DK" altLang="ko-KR" sz="2800" b="1" smtClean="0">
                <a:latin typeface="맑은 고딕"/>
                <a:ea typeface="맑은 고딕"/>
                <a:cs typeface="맑은 고딕"/>
              </a:rPr>
              <a:t>Korea Ostomy Association</a:t>
            </a:r>
            <a:r>
              <a:rPr lang="da-DK" altLang="ko-KR" sz="2000" smtClean="0">
                <a:ea typeface="굴림" charset="-127"/>
              </a:rPr>
              <a:t/>
            </a:r>
            <a:br>
              <a:rPr lang="da-DK" altLang="ko-KR" sz="2000" smtClean="0">
                <a:ea typeface="굴림" charset="-127"/>
              </a:rPr>
            </a:br>
            <a:r>
              <a:rPr lang="da-DK" altLang="ko-KR" sz="2000" smtClean="0">
                <a:ea typeface="굴림" charset="-127"/>
              </a:rPr>
              <a:t/>
            </a:r>
            <a:br>
              <a:rPr lang="da-DK" altLang="ko-KR" sz="2000" smtClean="0">
                <a:ea typeface="굴림" charset="-127"/>
              </a:rPr>
            </a:br>
            <a:endParaRPr lang="en-GB" altLang="ko-KR" sz="2000" smtClean="0">
              <a:ea typeface="굴림" charset="-127"/>
            </a:endParaRPr>
          </a:p>
        </p:txBody>
      </p:sp>
      <p:sp>
        <p:nvSpPr>
          <p:cNvPr id="109572" name="Rectangle 3"/>
          <p:cNvSpPr>
            <a:spLocks noGrp="1" noChangeArrowheads="1"/>
          </p:cNvSpPr>
          <p:nvPr>
            <p:ph type="subTitle" idx="4294967295"/>
          </p:nvPr>
        </p:nvSpPr>
        <p:spPr>
          <a:xfrm>
            <a:off x="863600" y="4205288"/>
            <a:ext cx="7413625" cy="900112"/>
          </a:xfrm>
        </p:spPr>
        <p:txBody>
          <a:bodyPr/>
          <a:lstStyle/>
          <a:p>
            <a:pPr marL="0" indent="0" algn="r" eaLnBrk="1" hangingPunct="1">
              <a:lnSpc>
                <a:spcPct val="93000"/>
              </a:lnSpc>
              <a:spcBef>
                <a:spcPct val="0"/>
              </a:spcBef>
              <a:buFontTx/>
              <a:buNone/>
            </a:pPr>
            <a:r>
              <a:rPr lang="da-DK" altLang="ko-KR" sz="2800" dirty="0" smtClean="0">
                <a:ea typeface="굴림" charset="-127"/>
              </a:rPr>
              <a:t> </a:t>
            </a:r>
          </a:p>
          <a:p>
            <a:pPr marL="0" indent="0" algn="r" eaLnBrk="1" hangingPunct="1">
              <a:lnSpc>
                <a:spcPct val="93000"/>
              </a:lnSpc>
              <a:spcBef>
                <a:spcPct val="0"/>
              </a:spcBef>
              <a:buFontTx/>
              <a:buNone/>
            </a:pPr>
            <a:endParaRPr lang="da-DK" altLang="ko-KR" dirty="0" smtClean="0">
              <a:ea typeface="굴림" charset="-127"/>
            </a:endParaRPr>
          </a:p>
          <a:p>
            <a:pPr marL="0" indent="0" algn="r" eaLnBrk="1" hangingPunct="1">
              <a:lnSpc>
                <a:spcPct val="93000"/>
              </a:lnSpc>
              <a:spcBef>
                <a:spcPct val="0"/>
              </a:spcBef>
              <a:buFontTx/>
              <a:buNone/>
            </a:pPr>
            <a:r>
              <a:rPr lang="da-DK" altLang="ko-KR" dirty="0" smtClean="0">
                <a:ea typeface="굴림" charset="-127"/>
              </a:rPr>
              <a:t>Mar.31~Apr.1,2017</a:t>
            </a:r>
            <a:endParaRPr lang="en-GB" altLang="ko-KR" dirty="0" smtClean="0">
              <a:ea typeface="굴림" charset="-127"/>
            </a:endParaRPr>
          </a:p>
        </p:txBody>
      </p:sp>
      <p:sp>
        <p:nvSpPr>
          <p:cNvPr id="8" name="Freeform 40"/>
          <p:cNvSpPr>
            <a:spLocks/>
          </p:cNvSpPr>
          <p:nvPr/>
        </p:nvSpPr>
        <p:spPr bwMode="ltGray">
          <a:xfrm>
            <a:off x="0" y="311150"/>
            <a:ext cx="5143500" cy="6546850"/>
          </a:xfrm>
          <a:custGeom>
            <a:avLst/>
            <a:gdLst/>
            <a:ahLst/>
            <a:cxnLst>
              <a:cxn ang="0">
                <a:pos x="77" y="3626"/>
              </a:cxn>
              <a:cxn ang="0">
                <a:pos x="146" y="3494"/>
              </a:cxn>
              <a:cxn ang="0">
                <a:pos x="179" y="3443"/>
              </a:cxn>
              <a:cxn ang="0">
                <a:pos x="263" y="3308"/>
              </a:cxn>
              <a:cxn ang="0">
                <a:pos x="353" y="3170"/>
              </a:cxn>
              <a:cxn ang="0">
                <a:pos x="383" y="3104"/>
              </a:cxn>
              <a:cxn ang="0">
                <a:pos x="419" y="3041"/>
              </a:cxn>
              <a:cxn ang="0">
                <a:pos x="452" y="3008"/>
              </a:cxn>
              <a:cxn ang="0">
                <a:pos x="308" y="2915"/>
              </a:cxn>
              <a:cxn ang="0">
                <a:pos x="173" y="2951"/>
              </a:cxn>
              <a:cxn ang="0">
                <a:pos x="416" y="2837"/>
              </a:cxn>
              <a:cxn ang="0">
                <a:pos x="368" y="2696"/>
              </a:cxn>
              <a:cxn ang="0">
                <a:pos x="317" y="2657"/>
              </a:cxn>
              <a:cxn ang="0">
                <a:pos x="419" y="2615"/>
              </a:cxn>
              <a:cxn ang="0">
                <a:pos x="311" y="2330"/>
              </a:cxn>
              <a:cxn ang="0">
                <a:pos x="188" y="2090"/>
              </a:cxn>
              <a:cxn ang="0">
                <a:pos x="311" y="1925"/>
              </a:cxn>
              <a:cxn ang="0">
                <a:pos x="407" y="1922"/>
              </a:cxn>
              <a:cxn ang="0">
                <a:pos x="572" y="1817"/>
              </a:cxn>
              <a:cxn ang="0">
                <a:pos x="590" y="1727"/>
              </a:cxn>
              <a:cxn ang="0">
                <a:pos x="395" y="1646"/>
              </a:cxn>
              <a:cxn ang="0">
                <a:pos x="152" y="1673"/>
              </a:cxn>
              <a:cxn ang="0">
                <a:pos x="149" y="1538"/>
              </a:cxn>
              <a:cxn ang="0">
                <a:pos x="71" y="1367"/>
              </a:cxn>
              <a:cxn ang="0">
                <a:pos x="245" y="1379"/>
              </a:cxn>
              <a:cxn ang="0">
                <a:pos x="470" y="1217"/>
              </a:cxn>
              <a:cxn ang="0">
                <a:pos x="668" y="1139"/>
              </a:cxn>
              <a:cxn ang="0">
                <a:pos x="593" y="1334"/>
              </a:cxn>
              <a:cxn ang="0">
                <a:pos x="593" y="1460"/>
              </a:cxn>
              <a:cxn ang="0">
                <a:pos x="611" y="1469"/>
              </a:cxn>
              <a:cxn ang="0">
                <a:pos x="947" y="1361"/>
              </a:cxn>
              <a:cxn ang="0">
                <a:pos x="1109" y="1424"/>
              </a:cxn>
              <a:cxn ang="0">
                <a:pos x="1058" y="1580"/>
              </a:cxn>
              <a:cxn ang="0">
                <a:pos x="983" y="1670"/>
              </a:cxn>
              <a:cxn ang="0">
                <a:pos x="1055" y="1712"/>
              </a:cxn>
              <a:cxn ang="0">
                <a:pos x="1214" y="1736"/>
              </a:cxn>
              <a:cxn ang="0">
                <a:pos x="1259" y="1898"/>
              </a:cxn>
              <a:cxn ang="0">
                <a:pos x="1208" y="1931"/>
              </a:cxn>
              <a:cxn ang="0">
                <a:pos x="1205" y="2105"/>
              </a:cxn>
              <a:cxn ang="0">
                <a:pos x="1184" y="2285"/>
              </a:cxn>
              <a:cxn ang="0">
                <a:pos x="1148" y="2333"/>
              </a:cxn>
              <a:cxn ang="0">
                <a:pos x="1280" y="2267"/>
              </a:cxn>
              <a:cxn ang="0">
                <a:pos x="1316" y="2267"/>
              </a:cxn>
              <a:cxn ang="0">
                <a:pos x="1361" y="2261"/>
              </a:cxn>
              <a:cxn ang="0">
                <a:pos x="1415" y="2234"/>
              </a:cxn>
              <a:cxn ang="0">
                <a:pos x="1616" y="2060"/>
              </a:cxn>
              <a:cxn ang="0">
                <a:pos x="1595" y="1832"/>
              </a:cxn>
              <a:cxn ang="0">
                <a:pos x="1433" y="1544"/>
              </a:cxn>
              <a:cxn ang="0">
                <a:pos x="1391" y="1406"/>
              </a:cxn>
              <a:cxn ang="0">
                <a:pos x="1604" y="1304"/>
              </a:cxn>
              <a:cxn ang="0">
                <a:pos x="1679" y="1121"/>
              </a:cxn>
              <a:cxn ang="0">
                <a:pos x="1829" y="1004"/>
              </a:cxn>
              <a:cxn ang="0">
                <a:pos x="1991" y="842"/>
              </a:cxn>
              <a:cxn ang="0">
                <a:pos x="2036" y="899"/>
              </a:cxn>
              <a:cxn ang="0">
                <a:pos x="2267" y="911"/>
              </a:cxn>
              <a:cxn ang="0">
                <a:pos x="2534" y="647"/>
              </a:cxn>
              <a:cxn ang="0">
                <a:pos x="2768" y="347"/>
              </a:cxn>
              <a:cxn ang="0">
                <a:pos x="2855" y="155"/>
              </a:cxn>
            </a:cxnLst>
            <a:rect l="0" t="0" r="r" b="b"/>
            <a:pathLst>
              <a:path w="2934" h="3703">
                <a:moveTo>
                  <a:pt x="2934" y="0"/>
                </a:moveTo>
                <a:lnTo>
                  <a:pt x="0" y="0"/>
                </a:lnTo>
                <a:lnTo>
                  <a:pt x="0" y="3703"/>
                </a:lnTo>
                <a:lnTo>
                  <a:pt x="65" y="3665"/>
                </a:lnTo>
                <a:lnTo>
                  <a:pt x="77" y="3626"/>
                </a:lnTo>
                <a:lnTo>
                  <a:pt x="107" y="3629"/>
                </a:lnTo>
                <a:lnTo>
                  <a:pt x="116" y="3590"/>
                </a:lnTo>
                <a:lnTo>
                  <a:pt x="143" y="3578"/>
                </a:lnTo>
                <a:lnTo>
                  <a:pt x="164" y="3506"/>
                </a:lnTo>
                <a:lnTo>
                  <a:pt x="146" y="3494"/>
                </a:lnTo>
                <a:lnTo>
                  <a:pt x="140" y="3479"/>
                </a:lnTo>
                <a:lnTo>
                  <a:pt x="158" y="3467"/>
                </a:lnTo>
                <a:lnTo>
                  <a:pt x="167" y="3485"/>
                </a:lnTo>
                <a:lnTo>
                  <a:pt x="185" y="3482"/>
                </a:lnTo>
                <a:lnTo>
                  <a:pt x="179" y="3443"/>
                </a:lnTo>
                <a:lnTo>
                  <a:pt x="209" y="3419"/>
                </a:lnTo>
                <a:lnTo>
                  <a:pt x="215" y="3374"/>
                </a:lnTo>
                <a:lnTo>
                  <a:pt x="239" y="3356"/>
                </a:lnTo>
                <a:lnTo>
                  <a:pt x="263" y="3335"/>
                </a:lnTo>
                <a:lnTo>
                  <a:pt x="263" y="3308"/>
                </a:lnTo>
                <a:lnTo>
                  <a:pt x="284" y="3251"/>
                </a:lnTo>
                <a:lnTo>
                  <a:pt x="329" y="3284"/>
                </a:lnTo>
                <a:lnTo>
                  <a:pt x="347" y="3242"/>
                </a:lnTo>
                <a:lnTo>
                  <a:pt x="359" y="3203"/>
                </a:lnTo>
                <a:lnTo>
                  <a:pt x="353" y="3170"/>
                </a:lnTo>
                <a:lnTo>
                  <a:pt x="371" y="3140"/>
                </a:lnTo>
                <a:lnTo>
                  <a:pt x="359" y="3125"/>
                </a:lnTo>
                <a:lnTo>
                  <a:pt x="341" y="3107"/>
                </a:lnTo>
                <a:lnTo>
                  <a:pt x="374" y="3083"/>
                </a:lnTo>
                <a:lnTo>
                  <a:pt x="383" y="3104"/>
                </a:lnTo>
                <a:lnTo>
                  <a:pt x="404" y="3104"/>
                </a:lnTo>
                <a:lnTo>
                  <a:pt x="425" y="3071"/>
                </a:lnTo>
                <a:lnTo>
                  <a:pt x="446" y="3041"/>
                </a:lnTo>
                <a:lnTo>
                  <a:pt x="443" y="3035"/>
                </a:lnTo>
                <a:lnTo>
                  <a:pt x="419" y="3041"/>
                </a:lnTo>
                <a:lnTo>
                  <a:pt x="371" y="3044"/>
                </a:lnTo>
                <a:lnTo>
                  <a:pt x="371" y="3032"/>
                </a:lnTo>
                <a:lnTo>
                  <a:pt x="392" y="3029"/>
                </a:lnTo>
                <a:lnTo>
                  <a:pt x="413" y="3017"/>
                </a:lnTo>
                <a:lnTo>
                  <a:pt x="452" y="3008"/>
                </a:lnTo>
                <a:lnTo>
                  <a:pt x="470" y="2999"/>
                </a:lnTo>
                <a:lnTo>
                  <a:pt x="401" y="2978"/>
                </a:lnTo>
                <a:lnTo>
                  <a:pt x="374" y="2942"/>
                </a:lnTo>
                <a:lnTo>
                  <a:pt x="344" y="2918"/>
                </a:lnTo>
                <a:lnTo>
                  <a:pt x="308" y="2915"/>
                </a:lnTo>
                <a:lnTo>
                  <a:pt x="296" y="2942"/>
                </a:lnTo>
                <a:lnTo>
                  <a:pt x="260" y="2954"/>
                </a:lnTo>
                <a:lnTo>
                  <a:pt x="245" y="2936"/>
                </a:lnTo>
                <a:lnTo>
                  <a:pt x="227" y="2936"/>
                </a:lnTo>
                <a:lnTo>
                  <a:pt x="173" y="2951"/>
                </a:lnTo>
                <a:lnTo>
                  <a:pt x="215" y="2921"/>
                </a:lnTo>
                <a:lnTo>
                  <a:pt x="275" y="2909"/>
                </a:lnTo>
                <a:lnTo>
                  <a:pt x="320" y="2873"/>
                </a:lnTo>
                <a:lnTo>
                  <a:pt x="365" y="2840"/>
                </a:lnTo>
                <a:lnTo>
                  <a:pt x="416" y="2837"/>
                </a:lnTo>
                <a:lnTo>
                  <a:pt x="428" y="2825"/>
                </a:lnTo>
                <a:lnTo>
                  <a:pt x="452" y="2822"/>
                </a:lnTo>
                <a:lnTo>
                  <a:pt x="437" y="2780"/>
                </a:lnTo>
                <a:lnTo>
                  <a:pt x="407" y="2738"/>
                </a:lnTo>
                <a:lnTo>
                  <a:pt x="368" y="2696"/>
                </a:lnTo>
                <a:lnTo>
                  <a:pt x="311" y="2672"/>
                </a:lnTo>
                <a:lnTo>
                  <a:pt x="269" y="2636"/>
                </a:lnTo>
                <a:lnTo>
                  <a:pt x="233" y="2597"/>
                </a:lnTo>
                <a:lnTo>
                  <a:pt x="284" y="2615"/>
                </a:lnTo>
                <a:lnTo>
                  <a:pt x="317" y="2657"/>
                </a:lnTo>
                <a:lnTo>
                  <a:pt x="377" y="2669"/>
                </a:lnTo>
                <a:lnTo>
                  <a:pt x="434" y="2702"/>
                </a:lnTo>
                <a:lnTo>
                  <a:pt x="464" y="2693"/>
                </a:lnTo>
                <a:lnTo>
                  <a:pt x="455" y="2648"/>
                </a:lnTo>
                <a:lnTo>
                  <a:pt x="419" y="2615"/>
                </a:lnTo>
                <a:lnTo>
                  <a:pt x="410" y="2588"/>
                </a:lnTo>
                <a:lnTo>
                  <a:pt x="383" y="2558"/>
                </a:lnTo>
                <a:lnTo>
                  <a:pt x="338" y="2525"/>
                </a:lnTo>
                <a:lnTo>
                  <a:pt x="335" y="2432"/>
                </a:lnTo>
                <a:lnTo>
                  <a:pt x="311" y="2330"/>
                </a:lnTo>
                <a:lnTo>
                  <a:pt x="275" y="2231"/>
                </a:lnTo>
                <a:lnTo>
                  <a:pt x="191" y="2165"/>
                </a:lnTo>
                <a:lnTo>
                  <a:pt x="170" y="2168"/>
                </a:lnTo>
                <a:lnTo>
                  <a:pt x="161" y="2105"/>
                </a:lnTo>
                <a:lnTo>
                  <a:pt x="188" y="2090"/>
                </a:lnTo>
                <a:lnTo>
                  <a:pt x="269" y="1979"/>
                </a:lnTo>
                <a:lnTo>
                  <a:pt x="314" y="1961"/>
                </a:lnTo>
                <a:lnTo>
                  <a:pt x="332" y="1949"/>
                </a:lnTo>
                <a:lnTo>
                  <a:pt x="311" y="1943"/>
                </a:lnTo>
                <a:lnTo>
                  <a:pt x="311" y="1925"/>
                </a:lnTo>
                <a:lnTo>
                  <a:pt x="329" y="1907"/>
                </a:lnTo>
                <a:lnTo>
                  <a:pt x="365" y="1904"/>
                </a:lnTo>
                <a:lnTo>
                  <a:pt x="362" y="1931"/>
                </a:lnTo>
                <a:lnTo>
                  <a:pt x="374" y="1940"/>
                </a:lnTo>
                <a:lnTo>
                  <a:pt x="407" y="1922"/>
                </a:lnTo>
                <a:lnTo>
                  <a:pt x="410" y="1877"/>
                </a:lnTo>
                <a:lnTo>
                  <a:pt x="428" y="1868"/>
                </a:lnTo>
                <a:lnTo>
                  <a:pt x="431" y="1844"/>
                </a:lnTo>
                <a:lnTo>
                  <a:pt x="482" y="1838"/>
                </a:lnTo>
                <a:lnTo>
                  <a:pt x="572" y="1817"/>
                </a:lnTo>
                <a:lnTo>
                  <a:pt x="650" y="1826"/>
                </a:lnTo>
                <a:lnTo>
                  <a:pt x="647" y="1775"/>
                </a:lnTo>
                <a:lnTo>
                  <a:pt x="683" y="1748"/>
                </a:lnTo>
                <a:lnTo>
                  <a:pt x="644" y="1739"/>
                </a:lnTo>
                <a:lnTo>
                  <a:pt x="590" y="1727"/>
                </a:lnTo>
                <a:lnTo>
                  <a:pt x="557" y="1721"/>
                </a:lnTo>
                <a:lnTo>
                  <a:pt x="485" y="1682"/>
                </a:lnTo>
                <a:lnTo>
                  <a:pt x="461" y="1640"/>
                </a:lnTo>
                <a:lnTo>
                  <a:pt x="431" y="1637"/>
                </a:lnTo>
                <a:lnTo>
                  <a:pt x="395" y="1646"/>
                </a:lnTo>
                <a:lnTo>
                  <a:pt x="338" y="1688"/>
                </a:lnTo>
                <a:lnTo>
                  <a:pt x="284" y="1703"/>
                </a:lnTo>
                <a:lnTo>
                  <a:pt x="224" y="1736"/>
                </a:lnTo>
                <a:lnTo>
                  <a:pt x="197" y="1736"/>
                </a:lnTo>
                <a:lnTo>
                  <a:pt x="152" y="1673"/>
                </a:lnTo>
                <a:lnTo>
                  <a:pt x="149" y="1646"/>
                </a:lnTo>
                <a:lnTo>
                  <a:pt x="164" y="1616"/>
                </a:lnTo>
                <a:lnTo>
                  <a:pt x="197" y="1574"/>
                </a:lnTo>
                <a:lnTo>
                  <a:pt x="197" y="1559"/>
                </a:lnTo>
                <a:lnTo>
                  <a:pt x="149" y="1538"/>
                </a:lnTo>
                <a:lnTo>
                  <a:pt x="107" y="1532"/>
                </a:lnTo>
                <a:lnTo>
                  <a:pt x="74" y="1532"/>
                </a:lnTo>
                <a:lnTo>
                  <a:pt x="56" y="1511"/>
                </a:lnTo>
                <a:lnTo>
                  <a:pt x="53" y="1460"/>
                </a:lnTo>
                <a:lnTo>
                  <a:pt x="71" y="1367"/>
                </a:lnTo>
                <a:lnTo>
                  <a:pt x="104" y="1355"/>
                </a:lnTo>
                <a:lnTo>
                  <a:pt x="125" y="1343"/>
                </a:lnTo>
                <a:lnTo>
                  <a:pt x="137" y="1373"/>
                </a:lnTo>
                <a:lnTo>
                  <a:pt x="197" y="1388"/>
                </a:lnTo>
                <a:lnTo>
                  <a:pt x="245" y="1379"/>
                </a:lnTo>
                <a:lnTo>
                  <a:pt x="251" y="1334"/>
                </a:lnTo>
                <a:lnTo>
                  <a:pt x="302" y="1301"/>
                </a:lnTo>
                <a:lnTo>
                  <a:pt x="344" y="1286"/>
                </a:lnTo>
                <a:lnTo>
                  <a:pt x="464" y="1238"/>
                </a:lnTo>
                <a:lnTo>
                  <a:pt x="470" y="1217"/>
                </a:lnTo>
                <a:lnTo>
                  <a:pt x="560" y="1154"/>
                </a:lnTo>
                <a:lnTo>
                  <a:pt x="575" y="1130"/>
                </a:lnTo>
                <a:lnTo>
                  <a:pt x="605" y="1151"/>
                </a:lnTo>
                <a:lnTo>
                  <a:pt x="629" y="1163"/>
                </a:lnTo>
                <a:lnTo>
                  <a:pt x="668" y="1139"/>
                </a:lnTo>
                <a:lnTo>
                  <a:pt x="674" y="1163"/>
                </a:lnTo>
                <a:lnTo>
                  <a:pt x="716" y="1181"/>
                </a:lnTo>
                <a:lnTo>
                  <a:pt x="704" y="1220"/>
                </a:lnTo>
                <a:lnTo>
                  <a:pt x="647" y="1283"/>
                </a:lnTo>
                <a:lnTo>
                  <a:pt x="593" y="1334"/>
                </a:lnTo>
                <a:lnTo>
                  <a:pt x="581" y="1370"/>
                </a:lnTo>
                <a:lnTo>
                  <a:pt x="593" y="1385"/>
                </a:lnTo>
                <a:lnTo>
                  <a:pt x="629" y="1385"/>
                </a:lnTo>
                <a:lnTo>
                  <a:pt x="599" y="1430"/>
                </a:lnTo>
                <a:lnTo>
                  <a:pt x="593" y="1460"/>
                </a:lnTo>
                <a:lnTo>
                  <a:pt x="566" y="1457"/>
                </a:lnTo>
                <a:lnTo>
                  <a:pt x="539" y="1475"/>
                </a:lnTo>
                <a:lnTo>
                  <a:pt x="536" y="1490"/>
                </a:lnTo>
                <a:lnTo>
                  <a:pt x="566" y="1490"/>
                </a:lnTo>
                <a:lnTo>
                  <a:pt x="611" y="1469"/>
                </a:lnTo>
                <a:lnTo>
                  <a:pt x="659" y="1442"/>
                </a:lnTo>
                <a:lnTo>
                  <a:pt x="725" y="1385"/>
                </a:lnTo>
                <a:lnTo>
                  <a:pt x="770" y="1385"/>
                </a:lnTo>
                <a:lnTo>
                  <a:pt x="845" y="1361"/>
                </a:lnTo>
                <a:lnTo>
                  <a:pt x="947" y="1361"/>
                </a:lnTo>
                <a:lnTo>
                  <a:pt x="995" y="1391"/>
                </a:lnTo>
                <a:lnTo>
                  <a:pt x="998" y="1412"/>
                </a:lnTo>
                <a:lnTo>
                  <a:pt x="1019" y="1394"/>
                </a:lnTo>
                <a:lnTo>
                  <a:pt x="1055" y="1427"/>
                </a:lnTo>
                <a:lnTo>
                  <a:pt x="1109" y="1424"/>
                </a:lnTo>
                <a:lnTo>
                  <a:pt x="1094" y="1469"/>
                </a:lnTo>
                <a:lnTo>
                  <a:pt x="1082" y="1505"/>
                </a:lnTo>
                <a:lnTo>
                  <a:pt x="1073" y="1535"/>
                </a:lnTo>
                <a:lnTo>
                  <a:pt x="1091" y="1565"/>
                </a:lnTo>
                <a:lnTo>
                  <a:pt x="1058" y="1580"/>
                </a:lnTo>
                <a:lnTo>
                  <a:pt x="1040" y="1595"/>
                </a:lnTo>
                <a:lnTo>
                  <a:pt x="1013" y="1583"/>
                </a:lnTo>
                <a:lnTo>
                  <a:pt x="1013" y="1625"/>
                </a:lnTo>
                <a:lnTo>
                  <a:pt x="986" y="1652"/>
                </a:lnTo>
                <a:lnTo>
                  <a:pt x="983" y="1670"/>
                </a:lnTo>
                <a:lnTo>
                  <a:pt x="1007" y="1673"/>
                </a:lnTo>
                <a:lnTo>
                  <a:pt x="1037" y="1667"/>
                </a:lnTo>
                <a:lnTo>
                  <a:pt x="1025" y="1694"/>
                </a:lnTo>
                <a:lnTo>
                  <a:pt x="1037" y="1709"/>
                </a:lnTo>
                <a:lnTo>
                  <a:pt x="1055" y="1712"/>
                </a:lnTo>
                <a:lnTo>
                  <a:pt x="1058" y="1727"/>
                </a:lnTo>
                <a:lnTo>
                  <a:pt x="1094" y="1703"/>
                </a:lnTo>
                <a:lnTo>
                  <a:pt x="1100" y="1676"/>
                </a:lnTo>
                <a:lnTo>
                  <a:pt x="1148" y="1730"/>
                </a:lnTo>
                <a:lnTo>
                  <a:pt x="1214" y="1736"/>
                </a:lnTo>
                <a:lnTo>
                  <a:pt x="1220" y="1754"/>
                </a:lnTo>
                <a:lnTo>
                  <a:pt x="1223" y="1781"/>
                </a:lnTo>
                <a:lnTo>
                  <a:pt x="1244" y="1838"/>
                </a:lnTo>
                <a:lnTo>
                  <a:pt x="1244" y="1856"/>
                </a:lnTo>
                <a:lnTo>
                  <a:pt x="1259" y="1898"/>
                </a:lnTo>
                <a:lnTo>
                  <a:pt x="1226" y="1883"/>
                </a:lnTo>
                <a:lnTo>
                  <a:pt x="1190" y="1883"/>
                </a:lnTo>
                <a:lnTo>
                  <a:pt x="1160" y="1898"/>
                </a:lnTo>
                <a:lnTo>
                  <a:pt x="1184" y="1928"/>
                </a:lnTo>
                <a:lnTo>
                  <a:pt x="1208" y="1931"/>
                </a:lnTo>
                <a:lnTo>
                  <a:pt x="1205" y="1949"/>
                </a:lnTo>
                <a:lnTo>
                  <a:pt x="1196" y="1982"/>
                </a:lnTo>
                <a:lnTo>
                  <a:pt x="1211" y="2039"/>
                </a:lnTo>
                <a:lnTo>
                  <a:pt x="1217" y="2072"/>
                </a:lnTo>
                <a:lnTo>
                  <a:pt x="1205" y="2105"/>
                </a:lnTo>
                <a:lnTo>
                  <a:pt x="1184" y="2150"/>
                </a:lnTo>
                <a:lnTo>
                  <a:pt x="1169" y="2210"/>
                </a:lnTo>
                <a:lnTo>
                  <a:pt x="1166" y="2246"/>
                </a:lnTo>
                <a:lnTo>
                  <a:pt x="1193" y="2255"/>
                </a:lnTo>
                <a:lnTo>
                  <a:pt x="1184" y="2285"/>
                </a:lnTo>
                <a:lnTo>
                  <a:pt x="1169" y="2270"/>
                </a:lnTo>
                <a:lnTo>
                  <a:pt x="1154" y="2261"/>
                </a:lnTo>
                <a:lnTo>
                  <a:pt x="1163" y="2306"/>
                </a:lnTo>
                <a:lnTo>
                  <a:pt x="1142" y="2312"/>
                </a:lnTo>
                <a:lnTo>
                  <a:pt x="1148" y="2333"/>
                </a:lnTo>
                <a:lnTo>
                  <a:pt x="1181" y="2306"/>
                </a:lnTo>
                <a:lnTo>
                  <a:pt x="1193" y="2318"/>
                </a:lnTo>
                <a:lnTo>
                  <a:pt x="1211" y="2297"/>
                </a:lnTo>
                <a:lnTo>
                  <a:pt x="1232" y="2309"/>
                </a:lnTo>
                <a:lnTo>
                  <a:pt x="1280" y="2267"/>
                </a:lnTo>
                <a:lnTo>
                  <a:pt x="1298" y="2258"/>
                </a:lnTo>
                <a:lnTo>
                  <a:pt x="1283" y="2294"/>
                </a:lnTo>
                <a:lnTo>
                  <a:pt x="1295" y="2306"/>
                </a:lnTo>
                <a:lnTo>
                  <a:pt x="1310" y="2297"/>
                </a:lnTo>
                <a:lnTo>
                  <a:pt x="1316" y="2267"/>
                </a:lnTo>
                <a:lnTo>
                  <a:pt x="1328" y="2279"/>
                </a:lnTo>
                <a:lnTo>
                  <a:pt x="1340" y="2270"/>
                </a:lnTo>
                <a:lnTo>
                  <a:pt x="1331" y="2249"/>
                </a:lnTo>
                <a:lnTo>
                  <a:pt x="1355" y="2240"/>
                </a:lnTo>
                <a:lnTo>
                  <a:pt x="1361" y="2261"/>
                </a:lnTo>
                <a:lnTo>
                  <a:pt x="1382" y="2276"/>
                </a:lnTo>
                <a:lnTo>
                  <a:pt x="1394" y="2270"/>
                </a:lnTo>
                <a:lnTo>
                  <a:pt x="1379" y="2243"/>
                </a:lnTo>
                <a:lnTo>
                  <a:pt x="1367" y="2228"/>
                </a:lnTo>
                <a:lnTo>
                  <a:pt x="1415" y="2234"/>
                </a:lnTo>
                <a:lnTo>
                  <a:pt x="1448" y="2249"/>
                </a:lnTo>
                <a:lnTo>
                  <a:pt x="1451" y="2204"/>
                </a:lnTo>
                <a:lnTo>
                  <a:pt x="1547" y="2228"/>
                </a:lnTo>
                <a:lnTo>
                  <a:pt x="1598" y="2141"/>
                </a:lnTo>
                <a:lnTo>
                  <a:pt x="1616" y="2060"/>
                </a:lnTo>
                <a:lnTo>
                  <a:pt x="1598" y="2048"/>
                </a:lnTo>
                <a:lnTo>
                  <a:pt x="1595" y="2027"/>
                </a:lnTo>
                <a:lnTo>
                  <a:pt x="1601" y="1967"/>
                </a:lnTo>
                <a:lnTo>
                  <a:pt x="1607" y="1898"/>
                </a:lnTo>
                <a:lnTo>
                  <a:pt x="1595" y="1832"/>
                </a:lnTo>
                <a:lnTo>
                  <a:pt x="1571" y="1802"/>
                </a:lnTo>
                <a:lnTo>
                  <a:pt x="1541" y="1748"/>
                </a:lnTo>
                <a:lnTo>
                  <a:pt x="1490" y="1616"/>
                </a:lnTo>
                <a:lnTo>
                  <a:pt x="1454" y="1577"/>
                </a:lnTo>
                <a:lnTo>
                  <a:pt x="1433" y="1544"/>
                </a:lnTo>
                <a:lnTo>
                  <a:pt x="1400" y="1544"/>
                </a:lnTo>
                <a:lnTo>
                  <a:pt x="1388" y="1508"/>
                </a:lnTo>
                <a:lnTo>
                  <a:pt x="1397" y="1496"/>
                </a:lnTo>
                <a:lnTo>
                  <a:pt x="1394" y="1460"/>
                </a:lnTo>
                <a:lnTo>
                  <a:pt x="1391" y="1406"/>
                </a:lnTo>
                <a:lnTo>
                  <a:pt x="1421" y="1391"/>
                </a:lnTo>
                <a:lnTo>
                  <a:pt x="1445" y="1370"/>
                </a:lnTo>
                <a:lnTo>
                  <a:pt x="1505" y="1370"/>
                </a:lnTo>
                <a:lnTo>
                  <a:pt x="1562" y="1316"/>
                </a:lnTo>
                <a:lnTo>
                  <a:pt x="1604" y="1304"/>
                </a:lnTo>
                <a:lnTo>
                  <a:pt x="1658" y="1256"/>
                </a:lnTo>
                <a:lnTo>
                  <a:pt x="1682" y="1247"/>
                </a:lnTo>
                <a:lnTo>
                  <a:pt x="1691" y="1166"/>
                </a:lnTo>
                <a:lnTo>
                  <a:pt x="1694" y="1142"/>
                </a:lnTo>
                <a:lnTo>
                  <a:pt x="1679" y="1121"/>
                </a:lnTo>
                <a:lnTo>
                  <a:pt x="1682" y="1097"/>
                </a:lnTo>
                <a:lnTo>
                  <a:pt x="1727" y="1073"/>
                </a:lnTo>
                <a:lnTo>
                  <a:pt x="1781" y="1025"/>
                </a:lnTo>
                <a:lnTo>
                  <a:pt x="1805" y="1028"/>
                </a:lnTo>
                <a:lnTo>
                  <a:pt x="1829" y="1004"/>
                </a:lnTo>
                <a:lnTo>
                  <a:pt x="1832" y="974"/>
                </a:lnTo>
                <a:lnTo>
                  <a:pt x="1862" y="974"/>
                </a:lnTo>
                <a:lnTo>
                  <a:pt x="1901" y="953"/>
                </a:lnTo>
                <a:lnTo>
                  <a:pt x="1940" y="899"/>
                </a:lnTo>
                <a:lnTo>
                  <a:pt x="1991" y="842"/>
                </a:lnTo>
                <a:lnTo>
                  <a:pt x="1976" y="893"/>
                </a:lnTo>
                <a:lnTo>
                  <a:pt x="1988" y="905"/>
                </a:lnTo>
                <a:lnTo>
                  <a:pt x="2021" y="851"/>
                </a:lnTo>
                <a:lnTo>
                  <a:pt x="2036" y="863"/>
                </a:lnTo>
                <a:lnTo>
                  <a:pt x="2036" y="899"/>
                </a:lnTo>
                <a:lnTo>
                  <a:pt x="2036" y="926"/>
                </a:lnTo>
                <a:lnTo>
                  <a:pt x="2075" y="926"/>
                </a:lnTo>
                <a:lnTo>
                  <a:pt x="2129" y="941"/>
                </a:lnTo>
                <a:lnTo>
                  <a:pt x="2198" y="932"/>
                </a:lnTo>
                <a:lnTo>
                  <a:pt x="2267" y="911"/>
                </a:lnTo>
                <a:lnTo>
                  <a:pt x="2315" y="869"/>
                </a:lnTo>
                <a:lnTo>
                  <a:pt x="2390" y="818"/>
                </a:lnTo>
                <a:lnTo>
                  <a:pt x="2438" y="770"/>
                </a:lnTo>
                <a:lnTo>
                  <a:pt x="2480" y="698"/>
                </a:lnTo>
                <a:lnTo>
                  <a:pt x="2534" y="647"/>
                </a:lnTo>
                <a:lnTo>
                  <a:pt x="2552" y="617"/>
                </a:lnTo>
                <a:lnTo>
                  <a:pt x="2573" y="575"/>
                </a:lnTo>
                <a:lnTo>
                  <a:pt x="2597" y="536"/>
                </a:lnTo>
                <a:lnTo>
                  <a:pt x="2741" y="383"/>
                </a:lnTo>
                <a:lnTo>
                  <a:pt x="2768" y="347"/>
                </a:lnTo>
                <a:lnTo>
                  <a:pt x="2774" y="320"/>
                </a:lnTo>
                <a:lnTo>
                  <a:pt x="2789" y="236"/>
                </a:lnTo>
                <a:lnTo>
                  <a:pt x="2807" y="209"/>
                </a:lnTo>
                <a:lnTo>
                  <a:pt x="2840" y="176"/>
                </a:lnTo>
                <a:lnTo>
                  <a:pt x="2855" y="155"/>
                </a:lnTo>
                <a:lnTo>
                  <a:pt x="2855" y="128"/>
                </a:lnTo>
                <a:lnTo>
                  <a:pt x="2864" y="101"/>
                </a:lnTo>
                <a:lnTo>
                  <a:pt x="2934" y="0"/>
                </a:lnTo>
                <a:close/>
              </a:path>
            </a:pathLst>
          </a:custGeom>
          <a:solidFill>
            <a:schemeClr val="bg2">
              <a:lumMod val="65000"/>
            </a:schemeClr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latinLnBrk="0">
              <a:defRPr/>
            </a:pPr>
            <a:endParaRPr kumimoji="0" lang="ko-KR" altLang="en-US" dirty="0">
              <a:solidFill>
                <a:schemeClr val="bg1">
                  <a:lumMod val="75000"/>
                </a:schemeClr>
              </a:solidFill>
              <a:ea typeface="ＭＳ Ｐゴシック" pitchFamily="50" charset="-128"/>
            </a:endParaRPr>
          </a:p>
        </p:txBody>
      </p:sp>
      <p:sp>
        <p:nvSpPr>
          <p:cNvPr id="9" name="타원 8"/>
          <p:cNvSpPr/>
          <p:nvPr/>
        </p:nvSpPr>
        <p:spPr bwMode="auto">
          <a:xfrm>
            <a:off x="2071688" y="4572000"/>
            <a:ext cx="128587" cy="71438"/>
          </a:xfrm>
          <a:prstGeom prst="ellipse">
            <a:avLst/>
          </a:prstGeom>
          <a:solidFill>
            <a:schemeClr val="tx2">
              <a:lumMod val="50000"/>
            </a:schemeClr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/>
          <a:lstStyle/>
          <a:p>
            <a:pPr latinLnBrk="0">
              <a:defRPr/>
            </a:pPr>
            <a:endParaRPr kumimoji="0" lang="ko-KR" altLang="en-US" sz="1400" dirty="0">
              <a:ea typeface="+mn-ea"/>
            </a:endParaRPr>
          </a:p>
        </p:txBody>
      </p:sp>
      <p:pic>
        <p:nvPicPr>
          <p:cNvPr id="109575" name="Picture 5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58063" y="3786188"/>
            <a:ext cx="1066800" cy="1047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9576" name="직사각형 10"/>
          <p:cNvSpPr>
            <a:spLocks noChangeArrowheads="1"/>
          </p:cNvSpPr>
          <p:nvPr/>
        </p:nvSpPr>
        <p:spPr bwMode="auto">
          <a:xfrm>
            <a:off x="7308850" y="6308725"/>
            <a:ext cx="1746250" cy="396875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/>
          <a:lstStyle/>
          <a:p>
            <a:pPr latinLnBrk="0"/>
            <a:endParaRPr kumimoji="0" lang="en-US" altLang="ko-KR" sz="1400"/>
          </a:p>
        </p:txBody>
      </p:sp>
      <p:sp>
        <p:nvSpPr>
          <p:cNvPr id="109577" name="직사각형 11"/>
          <p:cNvSpPr>
            <a:spLocks noChangeArrowheads="1"/>
          </p:cNvSpPr>
          <p:nvPr/>
        </p:nvSpPr>
        <p:spPr bwMode="auto">
          <a:xfrm>
            <a:off x="325438" y="6308725"/>
            <a:ext cx="1746250" cy="396875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/>
          <a:lstStyle/>
          <a:p>
            <a:pPr latinLnBrk="0"/>
            <a:endParaRPr kumimoji="0" lang="en-US" altLang="ko-KR" sz="140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33" name="Rectangle 4"/>
          <p:cNvSpPr>
            <a:spLocks noGrp="1" noChangeArrowheads="1"/>
          </p:cNvSpPr>
          <p:nvPr>
            <p:ph type="title" idx="4294967295"/>
          </p:nvPr>
        </p:nvSpPr>
        <p:spPr>
          <a:xfrm>
            <a:off x="1225550" y="995363"/>
            <a:ext cx="6753225" cy="600075"/>
          </a:xfrm>
        </p:spPr>
        <p:txBody>
          <a:bodyPr/>
          <a:lstStyle/>
          <a:p>
            <a:pPr eaLnBrk="1" hangingPunct="1"/>
            <a:r>
              <a:rPr lang="en-US" altLang="ko-KR" sz="2400" b="1" smtClean="0">
                <a:ea typeface="MS PGothic" pitchFamily="34" charset="-128"/>
              </a:rPr>
              <a:t>2-2 K.O.A in Province</a:t>
            </a:r>
            <a:endParaRPr lang="ko-KR" altLang="en-US" sz="2400" b="1" smtClean="0">
              <a:ea typeface="MS PGothic" pitchFamily="34" charset="-128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714375" y="1143000"/>
            <a:ext cx="757237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Font typeface="Arial" pitchFamily="34" charset="0"/>
              <a:buChar char="•"/>
              <a:defRPr/>
            </a:pPr>
            <a:r>
              <a:rPr kumimoji="0" lang="en-US" altLang="ko-KR" sz="1600" dirty="0">
                <a:ea typeface="굴림" pitchFamily="50" charset="-127"/>
                <a:cs typeface="+mj-cs"/>
              </a:rPr>
              <a:t> </a:t>
            </a:r>
          </a:p>
        </p:txBody>
      </p:sp>
      <p:sp>
        <p:nvSpPr>
          <p:cNvPr id="120835" name="Rectangle 212"/>
          <p:cNvSpPr>
            <a:spLocks noChangeArrowheads="1"/>
          </p:cNvSpPr>
          <p:nvPr/>
        </p:nvSpPr>
        <p:spPr bwMode="auto">
          <a:xfrm>
            <a:off x="8367713" y="6607175"/>
            <a:ext cx="1685925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 latinLnBrk="0">
              <a:lnSpc>
                <a:spcPct val="60000"/>
              </a:lnSpc>
            </a:pPr>
            <a:fld id="{F44AE71E-84A7-40A9-9FF4-1E17A28584B9}" type="slidenum">
              <a:rPr kumimoji="0" lang="en-US" altLang="ko-KR" sz="800">
                <a:solidFill>
                  <a:schemeClr val="folHlink"/>
                </a:solidFill>
                <a:latin typeface="휴먼태모음T"/>
                <a:ea typeface="휴먼태모음T"/>
                <a:cs typeface="휴먼태모음T"/>
              </a:rPr>
              <a:pPr algn="r" latinLnBrk="0">
                <a:lnSpc>
                  <a:spcPct val="60000"/>
                </a:lnSpc>
              </a:pPr>
              <a:t>10</a:t>
            </a:fld>
            <a:endParaRPr kumimoji="0" lang="en-US" altLang="ko-KR" sz="800">
              <a:solidFill>
                <a:schemeClr val="folHlink"/>
              </a:solidFill>
              <a:latin typeface="휴먼태모음T"/>
              <a:ea typeface="휴먼태모음T"/>
              <a:cs typeface="휴먼태모음T"/>
            </a:endParaRPr>
          </a:p>
        </p:txBody>
      </p:sp>
      <p:sp>
        <p:nvSpPr>
          <p:cNvPr id="120836" name="직사각형 61"/>
          <p:cNvSpPr>
            <a:spLocks noChangeArrowheads="1"/>
          </p:cNvSpPr>
          <p:nvPr/>
        </p:nvSpPr>
        <p:spPr bwMode="auto">
          <a:xfrm>
            <a:off x="7308850" y="6308725"/>
            <a:ext cx="1746250" cy="396875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/>
          <a:lstStyle/>
          <a:p>
            <a:pPr latinLnBrk="0"/>
            <a:endParaRPr kumimoji="0" lang="en-US" altLang="ko-KR" sz="1400"/>
          </a:p>
        </p:txBody>
      </p:sp>
      <p:grpSp>
        <p:nvGrpSpPr>
          <p:cNvPr id="120837" name="그룹 85"/>
          <p:cNvGrpSpPr>
            <a:grpSpLocks/>
          </p:cNvGrpSpPr>
          <p:nvPr/>
        </p:nvGrpSpPr>
        <p:grpSpPr bwMode="auto">
          <a:xfrm>
            <a:off x="1547813" y="1412875"/>
            <a:ext cx="6048375" cy="4984750"/>
            <a:chOff x="0" y="1649413"/>
            <a:chExt cx="5062946" cy="4984626"/>
          </a:xfrm>
        </p:grpSpPr>
        <p:sp>
          <p:nvSpPr>
            <p:cNvPr id="120839" name="Line 49"/>
            <p:cNvSpPr>
              <a:spLocks noChangeShapeType="1"/>
            </p:cNvSpPr>
            <p:nvPr/>
          </p:nvSpPr>
          <p:spPr bwMode="auto">
            <a:xfrm>
              <a:off x="968375" y="1649413"/>
              <a:ext cx="3262313" cy="0"/>
            </a:xfrm>
            <a:prstGeom prst="line">
              <a:avLst/>
            </a:prstGeom>
            <a:noFill/>
            <a:ln w="12700">
              <a:noFill/>
              <a:round/>
              <a:headEnd type="none" w="sm" len="sm"/>
              <a:tailEnd type="none" w="sm" len="sm"/>
            </a:ln>
          </p:spPr>
          <p:txBody>
            <a:bodyPr anchor="ctr"/>
            <a:lstStyle/>
            <a:p>
              <a:endParaRPr lang="ko-KR" altLang="en-US"/>
            </a:p>
          </p:txBody>
        </p:sp>
        <p:sp>
          <p:nvSpPr>
            <p:cNvPr id="120840" name="Line 50"/>
            <p:cNvSpPr>
              <a:spLocks noChangeShapeType="1"/>
            </p:cNvSpPr>
            <p:nvPr/>
          </p:nvSpPr>
          <p:spPr bwMode="auto">
            <a:xfrm>
              <a:off x="968375" y="1935163"/>
              <a:ext cx="3262313" cy="0"/>
            </a:xfrm>
            <a:prstGeom prst="line">
              <a:avLst/>
            </a:prstGeom>
            <a:noFill/>
            <a:ln w="12700">
              <a:noFill/>
              <a:round/>
              <a:headEnd type="none" w="sm" len="sm"/>
              <a:tailEnd type="none" w="sm" len="sm"/>
            </a:ln>
          </p:spPr>
          <p:txBody>
            <a:bodyPr anchor="ctr"/>
            <a:lstStyle/>
            <a:p>
              <a:endParaRPr lang="ko-KR" altLang="en-US"/>
            </a:p>
          </p:txBody>
        </p:sp>
        <p:sp>
          <p:nvSpPr>
            <p:cNvPr id="120841" name="Line 51"/>
            <p:cNvSpPr>
              <a:spLocks noChangeShapeType="1"/>
            </p:cNvSpPr>
            <p:nvPr/>
          </p:nvSpPr>
          <p:spPr bwMode="auto">
            <a:xfrm>
              <a:off x="968375" y="1649413"/>
              <a:ext cx="0" cy="285750"/>
            </a:xfrm>
            <a:prstGeom prst="line">
              <a:avLst/>
            </a:prstGeom>
            <a:noFill/>
            <a:ln w="28575" cap="sq">
              <a:noFill/>
              <a:round/>
              <a:headEnd type="none" w="sm" len="sm"/>
              <a:tailEnd type="none" w="sm" len="sm"/>
            </a:ln>
          </p:spPr>
          <p:txBody>
            <a:bodyPr anchor="ctr"/>
            <a:lstStyle/>
            <a:p>
              <a:endParaRPr lang="ko-KR" altLang="en-US"/>
            </a:p>
          </p:txBody>
        </p:sp>
        <p:sp>
          <p:nvSpPr>
            <p:cNvPr id="120842" name="Line 52"/>
            <p:cNvSpPr>
              <a:spLocks noChangeShapeType="1"/>
            </p:cNvSpPr>
            <p:nvPr/>
          </p:nvSpPr>
          <p:spPr bwMode="auto">
            <a:xfrm>
              <a:off x="4230688" y="1649413"/>
              <a:ext cx="0" cy="285750"/>
            </a:xfrm>
            <a:prstGeom prst="line">
              <a:avLst/>
            </a:prstGeom>
            <a:noFill/>
            <a:ln w="28575" cap="sq">
              <a:noFill/>
              <a:round/>
              <a:headEnd type="none" w="sm" len="sm"/>
              <a:tailEnd type="none" w="sm" len="sm"/>
            </a:ln>
          </p:spPr>
          <p:txBody>
            <a:bodyPr anchor="ctr"/>
            <a:lstStyle/>
            <a:p>
              <a:endParaRPr lang="ko-KR" altLang="en-US"/>
            </a:p>
          </p:txBody>
        </p:sp>
        <p:grpSp>
          <p:nvGrpSpPr>
            <p:cNvPr id="120843" name="그룹 57"/>
            <p:cNvGrpSpPr>
              <a:grpSpLocks/>
            </p:cNvGrpSpPr>
            <p:nvPr/>
          </p:nvGrpSpPr>
          <p:grpSpPr bwMode="auto">
            <a:xfrm>
              <a:off x="611560" y="1700808"/>
              <a:ext cx="4170315" cy="4595402"/>
              <a:chOff x="1744680" y="1751034"/>
              <a:chExt cx="5062802" cy="4392612"/>
            </a:xfrm>
          </p:grpSpPr>
          <p:sp>
            <p:nvSpPr>
              <p:cNvPr id="21" name="Rectangle 7"/>
              <p:cNvSpPr>
                <a:spLocks noChangeArrowheads="1"/>
              </p:cNvSpPr>
              <p:nvPr/>
            </p:nvSpPr>
            <p:spPr bwMode="auto">
              <a:xfrm>
                <a:off x="1744333" y="1750464"/>
                <a:ext cx="5062364" cy="4392896"/>
              </a:xfrm>
              <a:prstGeom prst="rect">
                <a:avLst/>
              </a:prstGeom>
              <a:ln>
                <a:headEnd/>
                <a:tailEnd/>
              </a:ln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latinLnBrk="0">
                  <a:defRPr/>
                </a:pPr>
                <a:endParaRPr kumimoji="0" lang="ko-KR" altLang="en-US" dirty="0"/>
              </a:p>
            </p:txBody>
          </p:sp>
          <p:sp>
            <p:nvSpPr>
              <p:cNvPr id="22" name="Freeform 14"/>
              <p:cNvSpPr>
                <a:spLocks/>
              </p:cNvSpPr>
              <p:nvPr/>
            </p:nvSpPr>
            <p:spPr bwMode="auto">
              <a:xfrm>
                <a:off x="3160763" y="1900688"/>
                <a:ext cx="2410189" cy="1465816"/>
              </a:xfrm>
              <a:custGeom>
                <a:avLst/>
                <a:gdLst/>
                <a:ahLst/>
                <a:cxnLst>
                  <a:cxn ang="0">
                    <a:pos x="45" y="358"/>
                  </a:cxn>
                  <a:cxn ang="0">
                    <a:pos x="124" y="438"/>
                  </a:cxn>
                  <a:cxn ang="0">
                    <a:pos x="186" y="392"/>
                  </a:cxn>
                  <a:cxn ang="0">
                    <a:pos x="241" y="429"/>
                  </a:cxn>
                  <a:cxn ang="0">
                    <a:pos x="312" y="454"/>
                  </a:cxn>
                  <a:cxn ang="0">
                    <a:pos x="411" y="542"/>
                  </a:cxn>
                  <a:cxn ang="0">
                    <a:pos x="465" y="601"/>
                  </a:cxn>
                  <a:cxn ang="0">
                    <a:pos x="411" y="697"/>
                  </a:cxn>
                  <a:cxn ang="0">
                    <a:pos x="411" y="800"/>
                  </a:cxn>
                  <a:cxn ang="0">
                    <a:pos x="512" y="864"/>
                  </a:cxn>
                  <a:cxn ang="0">
                    <a:pos x="603" y="913"/>
                  </a:cxn>
                  <a:cxn ang="0">
                    <a:pos x="578" y="967"/>
                  </a:cxn>
                  <a:cxn ang="0">
                    <a:pos x="600" y="1041"/>
                  </a:cxn>
                  <a:cxn ang="0">
                    <a:pos x="566" y="1134"/>
                  </a:cxn>
                  <a:cxn ang="0">
                    <a:pos x="570" y="1210"/>
                  </a:cxn>
                  <a:cxn ang="0">
                    <a:pos x="612" y="1255"/>
                  </a:cxn>
                  <a:cxn ang="0">
                    <a:pos x="699" y="1164"/>
                  </a:cxn>
                  <a:cxn ang="0">
                    <a:pos x="745" y="1197"/>
                  </a:cxn>
                  <a:cxn ang="0">
                    <a:pos x="812" y="1214"/>
                  </a:cxn>
                  <a:cxn ang="0">
                    <a:pos x="888" y="1176"/>
                  </a:cxn>
                  <a:cxn ang="0">
                    <a:pos x="958" y="1221"/>
                  </a:cxn>
                  <a:cxn ang="0">
                    <a:pos x="999" y="1255"/>
                  </a:cxn>
                  <a:cxn ang="0">
                    <a:pos x="1158" y="1317"/>
                  </a:cxn>
                  <a:cxn ang="0">
                    <a:pos x="1262" y="1334"/>
                  </a:cxn>
                  <a:cxn ang="0">
                    <a:pos x="1316" y="1285"/>
                  </a:cxn>
                  <a:cxn ang="0">
                    <a:pos x="1429" y="1285"/>
                  </a:cxn>
                  <a:cxn ang="0">
                    <a:pos x="1500" y="1285"/>
                  </a:cxn>
                  <a:cxn ang="0">
                    <a:pos x="1554" y="1204"/>
                  </a:cxn>
                  <a:cxn ang="0">
                    <a:pos x="1618" y="1082"/>
                  </a:cxn>
                  <a:cxn ang="0">
                    <a:pos x="1510" y="930"/>
                  </a:cxn>
                  <a:cxn ang="0">
                    <a:pos x="1496" y="868"/>
                  </a:cxn>
                  <a:cxn ang="0">
                    <a:pos x="1446" y="799"/>
                  </a:cxn>
                  <a:cxn ang="0">
                    <a:pos x="1350" y="703"/>
                  </a:cxn>
                  <a:cxn ang="0">
                    <a:pos x="1263" y="578"/>
                  </a:cxn>
                  <a:cxn ang="0">
                    <a:pos x="1174" y="448"/>
                  </a:cxn>
                  <a:cxn ang="0">
                    <a:pos x="1062" y="211"/>
                  </a:cxn>
                  <a:cxn ang="0">
                    <a:pos x="1010" y="84"/>
                  </a:cxn>
                  <a:cxn ang="0">
                    <a:pos x="967" y="0"/>
                  </a:cxn>
                  <a:cxn ang="0">
                    <a:pos x="805" y="115"/>
                  </a:cxn>
                  <a:cxn ang="0">
                    <a:pos x="550" y="246"/>
                  </a:cxn>
                  <a:cxn ang="0">
                    <a:pos x="318" y="194"/>
                  </a:cxn>
                  <a:cxn ang="0">
                    <a:pos x="118" y="183"/>
                  </a:cxn>
                  <a:cxn ang="0">
                    <a:pos x="6" y="302"/>
                  </a:cxn>
                </a:cxnLst>
                <a:rect l="0" t="0" r="r" b="b"/>
                <a:pathLst>
                  <a:path w="1651" h="1338">
                    <a:moveTo>
                      <a:pt x="0" y="346"/>
                    </a:moveTo>
                    <a:lnTo>
                      <a:pt x="45" y="358"/>
                    </a:lnTo>
                    <a:lnTo>
                      <a:pt x="91" y="417"/>
                    </a:lnTo>
                    <a:lnTo>
                      <a:pt x="124" y="438"/>
                    </a:lnTo>
                    <a:lnTo>
                      <a:pt x="170" y="426"/>
                    </a:lnTo>
                    <a:lnTo>
                      <a:pt x="186" y="392"/>
                    </a:lnTo>
                    <a:lnTo>
                      <a:pt x="224" y="397"/>
                    </a:lnTo>
                    <a:lnTo>
                      <a:pt x="241" y="429"/>
                    </a:lnTo>
                    <a:lnTo>
                      <a:pt x="271" y="442"/>
                    </a:lnTo>
                    <a:lnTo>
                      <a:pt x="312" y="454"/>
                    </a:lnTo>
                    <a:lnTo>
                      <a:pt x="354" y="513"/>
                    </a:lnTo>
                    <a:lnTo>
                      <a:pt x="411" y="542"/>
                    </a:lnTo>
                    <a:lnTo>
                      <a:pt x="453" y="562"/>
                    </a:lnTo>
                    <a:lnTo>
                      <a:pt x="465" y="601"/>
                    </a:lnTo>
                    <a:lnTo>
                      <a:pt x="433" y="646"/>
                    </a:lnTo>
                    <a:lnTo>
                      <a:pt x="411" y="697"/>
                    </a:lnTo>
                    <a:lnTo>
                      <a:pt x="408" y="726"/>
                    </a:lnTo>
                    <a:lnTo>
                      <a:pt x="411" y="800"/>
                    </a:lnTo>
                    <a:lnTo>
                      <a:pt x="441" y="842"/>
                    </a:lnTo>
                    <a:lnTo>
                      <a:pt x="512" y="864"/>
                    </a:lnTo>
                    <a:lnTo>
                      <a:pt x="591" y="889"/>
                    </a:lnTo>
                    <a:lnTo>
                      <a:pt x="603" y="913"/>
                    </a:lnTo>
                    <a:lnTo>
                      <a:pt x="600" y="938"/>
                    </a:lnTo>
                    <a:lnTo>
                      <a:pt x="578" y="967"/>
                    </a:lnTo>
                    <a:lnTo>
                      <a:pt x="578" y="996"/>
                    </a:lnTo>
                    <a:lnTo>
                      <a:pt x="600" y="1041"/>
                    </a:lnTo>
                    <a:lnTo>
                      <a:pt x="566" y="1088"/>
                    </a:lnTo>
                    <a:lnTo>
                      <a:pt x="566" y="1134"/>
                    </a:lnTo>
                    <a:lnTo>
                      <a:pt x="566" y="1201"/>
                    </a:lnTo>
                    <a:lnTo>
                      <a:pt x="570" y="1210"/>
                    </a:lnTo>
                    <a:lnTo>
                      <a:pt x="595" y="1245"/>
                    </a:lnTo>
                    <a:lnTo>
                      <a:pt x="612" y="1255"/>
                    </a:lnTo>
                    <a:lnTo>
                      <a:pt x="645" y="1230"/>
                    </a:lnTo>
                    <a:lnTo>
                      <a:pt x="699" y="1164"/>
                    </a:lnTo>
                    <a:lnTo>
                      <a:pt x="729" y="1159"/>
                    </a:lnTo>
                    <a:lnTo>
                      <a:pt x="745" y="1197"/>
                    </a:lnTo>
                    <a:lnTo>
                      <a:pt x="770" y="1225"/>
                    </a:lnTo>
                    <a:lnTo>
                      <a:pt x="812" y="1214"/>
                    </a:lnTo>
                    <a:lnTo>
                      <a:pt x="841" y="1192"/>
                    </a:lnTo>
                    <a:lnTo>
                      <a:pt x="888" y="1176"/>
                    </a:lnTo>
                    <a:lnTo>
                      <a:pt x="928" y="1201"/>
                    </a:lnTo>
                    <a:lnTo>
                      <a:pt x="958" y="1221"/>
                    </a:lnTo>
                    <a:lnTo>
                      <a:pt x="962" y="1250"/>
                    </a:lnTo>
                    <a:lnTo>
                      <a:pt x="999" y="1255"/>
                    </a:lnTo>
                    <a:lnTo>
                      <a:pt x="1075" y="1279"/>
                    </a:lnTo>
                    <a:lnTo>
                      <a:pt x="1158" y="1317"/>
                    </a:lnTo>
                    <a:lnTo>
                      <a:pt x="1228" y="1338"/>
                    </a:lnTo>
                    <a:lnTo>
                      <a:pt x="1262" y="1334"/>
                    </a:lnTo>
                    <a:lnTo>
                      <a:pt x="1287" y="1300"/>
                    </a:lnTo>
                    <a:lnTo>
                      <a:pt x="1316" y="1285"/>
                    </a:lnTo>
                    <a:lnTo>
                      <a:pt x="1353" y="1300"/>
                    </a:lnTo>
                    <a:lnTo>
                      <a:pt x="1429" y="1285"/>
                    </a:lnTo>
                    <a:lnTo>
                      <a:pt x="1479" y="1268"/>
                    </a:lnTo>
                    <a:lnTo>
                      <a:pt x="1500" y="1285"/>
                    </a:lnTo>
                    <a:lnTo>
                      <a:pt x="1525" y="1272"/>
                    </a:lnTo>
                    <a:lnTo>
                      <a:pt x="1554" y="1204"/>
                    </a:lnTo>
                    <a:lnTo>
                      <a:pt x="1651" y="1111"/>
                    </a:lnTo>
                    <a:lnTo>
                      <a:pt x="1618" y="1082"/>
                    </a:lnTo>
                    <a:lnTo>
                      <a:pt x="1588" y="1023"/>
                    </a:lnTo>
                    <a:lnTo>
                      <a:pt x="1510" y="930"/>
                    </a:lnTo>
                    <a:lnTo>
                      <a:pt x="1508" y="906"/>
                    </a:lnTo>
                    <a:lnTo>
                      <a:pt x="1496" y="868"/>
                    </a:lnTo>
                    <a:lnTo>
                      <a:pt x="1466" y="853"/>
                    </a:lnTo>
                    <a:lnTo>
                      <a:pt x="1446" y="799"/>
                    </a:lnTo>
                    <a:lnTo>
                      <a:pt x="1431" y="765"/>
                    </a:lnTo>
                    <a:lnTo>
                      <a:pt x="1350" y="703"/>
                    </a:lnTo>
                    <a:lnTo>
                      <a:pt x="1351" y="686"/>
                    </a:lnTo>
                    <a:lnTo>
                      <a:pt x="1263" y="578"/>
                    </a:lnTo>
                    <a:lnTo>
                      <a:pt x="1243" y="522"/>
                    </a:lnTo>
                    <a:lnTo>
                      <a:pt x="1174" y="448"/>
                    </a:lnTo>
                    <a:lnTo>
                      <a:pt x="1125" y="326"/>
                    </a:lnTo>
                    <a:lnTo>
                      <a:pt x="1062" y="211"/>
                    </a:lnTo>
                    <a:lnTo>
                      <a:pt x="1036" y="170"/>
                    </a:lnTo>
                    <a:lnTo>
                      <a:pt x="1010" y="84"/>
                    </a:lnTo>
                    <a:lnTo>
                      <a:pt x="969" y="3"/>
                    </a:lnTo>
                    <a:lnTo>
                      <a:pt x="967" y="0"/>
                    </a:lnTo>
                    <a:lnTo>
                      <a:pt x="873" y="42"/>
                    </a:lnTo>
                    <a:lnTo>
                      <a:pt x="805" y="115"/>
                    </a:lnTo>
                    <a:lnTo>
                      <a:pt x="669" y="223"/>
                    </a:lnTo>
                    <a:lnTo>
                      <a:pt x="550" y="246"/>
                    </a:lnTo>
                    <a:lnTo>
                      <a:pt x="447" y="223"/>
                    </a:lnTo>
                    <a:lnTo>
                      <a:pt x="318" y="194"/>
                    </a:lnTo>
                    <a:lnTo>
                      <a:pt x="187" y="171"/>
                    </a:lnTo>
                    <a:lnTo>
                      <a:pt x="118" y="183"/>
                    </a:lnTo>
                    <a:lnTo>
                      <a:pt x="51" y="206"/>
                    </a:lnTo>
                    <a:lnTo>
                      <a:pt x="6" y="302"/>
                    </a:lnTo>
                    <a:lnTo>
                      <a:pt x="0" y="346"/>
                    </a:lnTo>
                    <a:close/>
                  </a:path>
                </a:pathLst>
              </a:custGeom>
              <a:solidFill>
                <a:srgbClr val="EAEAEA"/>
              </a:solidFill>
              <a:ln w="9525" cmpd="sng">
                <a:solidFill>
                  <a:srgbClr val="777777"/>
                </a:solidFill>
                <a:prstDash val="solid"/>
                <a:round/>
                <a:headEnd/>
                <a:tailEnd/>
              </a:ln>
              <a:effectLst>
                <a:outerShdw dist="107763" dir="2700000" algn="ctr" rotWithShape="0">
                  <a:srgbClr val="808080">
                    <a:alpha val="50000"/>
                  </a:srgbClr>
                </a:outerShdw>
              </a:effectLst>
            </p:spPr>
            <p:txBody>
              <a:bodyPr/>
              <a:lstStyle/>
              <a:p>
                <a:pPr latinLnBrk="0">
                  <a:defRPr/>
                </a:pPr>
                <a:endParaRPr kumimoji="0" lang="ko-KR" altLang="en-US" dirty="0">
                  <a:ea typeface="+mn-ea"/>
                </a:endParaRPr>
              </a:p>
            </p:txBody>
          </p:sp>
          <p:sp>
            <p:nvSpPr>
              <p:cNvPr id="23" name="Freeform 22"/>
              <p:cNvSpPr>
                <a:spLocks/>
              </p:cNvSpPr>
              <p:nvPr/>
            </p:nvSpPr>
            <p:spPr bwMode="auto">
              <a:xfrm>
                <a:off x="2634845" y="2273970"/>
                <a:ext cx="1408363" cy="1226065"/>
              </a:xfrm>
              <a:custGeom>
                <a:avLst/>
                <a:gdLst/>
                <a:ahLst/>
                <a:cxnLst>
                  <a:cxn ang="0">
                    <a:pos x="0" y="324"/>
                  </a:cxn>
                  <a:cxn ang="0">
                    <a:pos x="184" y="256"/>
                  </a:cxn>
                  <a:cxn ang="0">
                    <a:pos x="343" y="120"/>
                  </a:cxn>
                  <a:cxn ang="0">
                    <a:pos x="405" y="12"/>
                  </a:cxn>
                  <a:cxn ang="0">
                    <a:pos x="484" y="92"/>
                  </a:cxn>
                  <a:cxn ang="0">
                    <a:pos x="546" y="46"/>
                  </a:cxn>
                  <a:cxn ang="0">
                    <a:pos x="601" y="83"/>
                  </a:cxn>
                  <a:cxn ang="0">
                    <a:pos x="672" y="108"/>
                  </a:cxn>
                  <a:cxn ang="0">
                    <a:pos x="771" y="196"/>
                  </a:cxn>
                  <a:cxn ang="0">
                    <a:pos x="825" y="255"/>
                  </a:cxn>
                  <a:cxn ang="0">
                    <a:pos x="771" y="351"/>
                  </a:cxn>
                  <a:cxn ang="0">
                    <a:pos x="771" y="454"/>
                  </a:cxn>
                  <a:cxn ang="0">
                    <a:pos x="872" y="518"/>
                  </a:cxn>
                  <a:cxn ang="0">
                    <a:pos x="963" y="567"/>
                  </a:cxn>
                  <a:cxn ang="0">
                    <a:pos x="938" y="621"/>
                  </a:cxn>
                  <a:cxn ang="0">
                    <a:pos x="960" y="695"/>
                  </a:cxn>
                  <a:cxn ang="0">
                    <a:pos x="926" y="788"/>
                  </a:cxn>
                  <a:cxn ang="0">
                    <a:pos x="904" y="875"/>
                  </a:cxn>
                  <a:cxn ang="0">
                    <a:pos x="847" y="922"/>
                  </a:cxn>
                  <a:cxn ang="0">
                    <a:pos x="796" y="1018"/>
                  </a:cxn>
                  <a:cxn ang="0">
                    <a:pos x="726" y="983"/>
                  </a:cxn>
                  <a:cxn ang="0">
                    <a:pos x="601" y="1121"/>
                  </a:cxn>
                  <a:cxn ang="0">
                    <a:pos x="518" y="1088"/>
                  </a:cxn>
                  <a:cxn ang="0">
                    <a:pos x="388" y="1115"/>
                  </a:cxn>
                  <a:cxn ang="0">
                    <a:pos x="398" y="1065"/>
                  </a:cxn>
                  <a:cxn ang="0">
                    <a:pos x="368" y="1089"/>
                  </a:cxn>
                  <a:cxn ang="0">
                    <a:pos x="356" y="1119"/>
                  </a:cxn>
                  <a:cxn ang="0">
                    <a:pos x="289" y="1089"/>
                  </a:cxn>
                  <a:cxn ang="0">
                    <a:pos x="315" y="1048"/>
                  </a:cxn>
                  <a:cxn ang="0">
                    <a:pos x="339" y="1023"/>
                  </a:cxn>
                  <a:cxn ang="0">
                    <a:pos x="309" y="989"/>
                  </a:cxn>
                  <a:cxn ang="0">
                    <a:pos x="284" y="998"/>
                  </a:cxn>
                  <a:cxn ang="0">
                    <a:pos x="267" y="1026"/>
                  </a:cxn>
                  <a:cxn ang="0">
                    <a:pos x="230" y="1035"/>
                  </a:cxn>
                  <a:cxn ang="0">
                    <a:pos x="213" y="993"/>
                  </a:cxn>
                  <a:cxn ang="0">
                    <a:pos x="243" y="939"/>
                  </a:cxn>
                  <a:cxn ang="0">
                    <a:pos x="306" y="917"/>
                  </a:cxn>
                  <a:cxn ang="0">
                    <a:pos x="264" y="912"/>
                  </a:cxn>
                  <a:cxn ang="0">
                    <a:pos x="230" y="900"/>
                  </a:cxn>
                  <a:cxn ang="0">
                    <a:pos x="196" y="939"/>
                  </a:cxn>
                  <a:cxn ang="0">
                    <a:pos x="154" y="934"/>
                  </a:cxn>
                  <a:cxn ang="0">
                    <a:pos x="163" y="893"/>
                  </a:cxn>
                  <a:cxn ang="0">
                    <a:pos x="163" y="842"/>
                  </a:cxn>
                  <a:cxn ang="0">
                    <a:pos x="222" y="842"/>
                  </a:cxn>
                  <a:cxn ang="0">
                    <a:pos x="292" y="833"/>
                  </a:cxn>
                  <a:cxn ang="0">
                    <a:pos x="255" y="800"/>
                  </a:cxn>
                  <a:cxn ang="0">
                    <a:pos x="176" y="741"/>
                  </a:cxn>
                  <a:cxn ang="0">
                    <a:pos x="184" y="695"/>
                  </a:cxn>
                  <a:cxn ang="0">
                    <a:pos x="208" y="638"/>
                  </a:cxn>
                  <a:cxn ang="0">
                    <a:pos x="159" y="588"/>
                  </a:cxn>
                  <a:cxn ang="0">
                    <a:pos x="112" y="561"/>
                  </a:cxn>
                  <a:cxn ang="0">
                    <a:pos x="87" y="410"/>
                  </a:cxn>
                  <a:cxn ang="0">
                    <a:pos x="154" y="410"/>
                  </a:cxn>
                  <a:cxn ang="0">
                    <a:pos x="163" y="472"/>
                  </a:cxn>
                  <a:cxn ang="0">
                    <a:pos x="222" y="510"/>
                  </a:cxn>
                  <a:cxn ang="0">
                    <a:pos x="193" y="472"/>
                  </a:cxn>
                  <a:cxn ang="0">
                    <a:pos x="180" y="401"/>
                  </a:cxn>
                  <a:cxn ang="0">
                    <a:pos x="176" y="342"/>
                  </a:cxn>
                  <a:cxn ang="0">
                    <a:pos x="151" y="368"/>
                  </a:cxn>
                  <a:cxn ang="0">
                    <a:pos x="104" y="388"/>
                  </a:cxn>
                  <a:cxn ang="0">
                    <a:pos x="45" y="354"/>
                  </a:cxn>
                </a:cxnLst>
                <a:rect l="0" t="0" r="r" b="b"/>
                <a:pathLst>
                  <a:path w="963" h="1121">
                    <a:moveTo>
                      <a:pt x="3" y="334"/>
                    </a:moveTo>
                    <a:lnTo>
                      <a:pt x="0" y="324"/>
                    </a:lnTo>
                    <a:lnTo>
                      <a:pt x="64" y="291"/>
                    </a:lnTo>
                    <a:lnTo>
                      <a:pt x="184" y="256"/>
                    </a:lnTo>
                    <a:lnTo>
                      <a:pt x="286" y="206"/>
                    </a:lnTo>
                    <a:lnTo>
                      <a:pt x="343" y="120"/>
                    </a:lnTo>
                    <a:lnTo>
                      <a:pt x="360" y="0"/>
                    </a:lnTo>
                    <a:lnTo>
                      <a:pt x="405" y="12"/>
                    </a:lnTo>
                    <a:lnTo>
                      <a:pt x="451" y="71"/>
                    </a:lnTo>
                    <a:lnTo>
                      <a:pt x="484" y="92"/>
                    </a:lnTo>
                    <a:lnTo>
                      <a:pt x="530" y="80"/>
                    </a:lnTo>
                    <a:lnTo>
                      <a:pt x="546" y="46"/>
                    </a:lnTo>
                    <a:lnTo>
                      <a:pt x="584" y="51"/>
                    </a:lnTo>
                    <a:lnTo>
                      <a:pt x="601" y="83"/>
                    </a:lnTo>
                    <a:lnTo>
                      <a:pt x="631" y="96"/>
                    </a:lnTo>
                    <a:lnTo>
                      <a:pt x="672" y="108"/>
                    </a:lnTo>
                    <a:lnTo>
                      <a:pt x="714" y="167"/>
                    </a:lnTo>
                    <a:lnTo>
                      <a:pt x="771" y="196"/>
                    </a:lnTo>
                    <a:lnTo>
                      <a:pt x="813" y="216"/>
                    </a:lnTo>
                    <a:lnTo>
                      <a:pt x="825" y="255"/>
                    </a:lnTo>
                    <a:lnTo>
                      <a:pt x="793" y="300"/>
                    </a:lnTo>
                    <a:lnTo>
                      <a:pt x="771" y="351"/>
                    </a:lnTo>
                    <a:lnTo>
                      <a:pt x="768" y="380"/>
                    </a:lnTo>
                    <a:lnTo>
                      <a:pt x="771" y="454"/>
                    </a:lnTo>
                    <a:lnTo>
                      <a:pt x="801" y="496"/>
                    </a:lnTo>
                    <a:lnTo>
                      <a:pt x="872" y="518"/>
                    </a:lnTo>
                    <a:lnTo>
                      <a:pt x="951" y="543"/>
                    </a:lnTo>
                    <a:lnTo>
                      <a:pt x="963" y="567"/>
                    </a:lnTo>
                    <a:lnTo>
                      <a:pt x="960" y="592"/>
                    </a:lnTo>
                    <a:lnTo>
                      <a:pt x="938" y="621"/>
                    </a:lnTo>
                    <a:lnTo>
                      <a:pt x="938" y="650"/>
                    </a:lnTo>
                    <a:lnTo>
                      <a:pt x="960" y="695"/>
                    </a:lnTo>
                    <a:lnTo>
                      <a:pt x="926" y="742"/>
                    </a:lnTo>
                    <a:lnTo>
                      <a:pt x="926" y="788"/>
                    </a:lnTo>
                    <a:lnTo>
                      <a:pt x="926" y="855"/>
                    </a:lnTo>
                    <a:lnTo>
                      <a:pt x="904" y="875"/>
                    </a:lnTo>
                    <a:lnTo>
                      <a:pt x="897" y="909"/>
                    </a:lnTo>
                    <a:lnTo>
                      <a:pt x="847" y="922"/>
                    </a:lnTo>
                    <a:lnTo>
                      <a:pt x="838" y="975"/>
                    </a:lnTo>
                    <a:lnTo>
                      <a:pt x="796" y="1018"/>
                    </a:lnTo>
                    <a:lnTo>
                      <a:pt x="763" y="1000"/>
                    </a:lnTo>
                    <a:lnTo>
                      <a:pt x="726" y="983"/>
                    </a:lnTo>
                    <a:lnTo>
                      <a:pt x="675" y="1054"/>
                    </a:lnTo>
                    <a:lnTo>
                      <a:pt x="601" y="1121"/>
                    </a:lnTo>
                    <a:lnTo>
                      <a:pt x="571" y="1101"/>
                    </a:lnTo>
                    <a:lnTo>
                      <a:pt x="518" y="1088"/>
                    </a:lnTo>
                    <a:lnTo>
                      <a:pt x="434" y="1104"/>
                    </a:lnTo>
                    <a:lnTo>
                      <a:pt x="388" y="1115"/>
                    </a:lnTo>
                    <a:lnTo>
                      <a:pt x="410" y="1080"/>
                    </a:lnTo>
                    <a:lnTo>
                      <a:pt x="398" y="1065"/>
                    </a:lnTo>
                    <a:lnTo>
                      <a:pt x="376" y="1068"/>
                    </a:lnTo>
                    <a:lnTo>
                      <a:pt x="368" y="1089"/>
                    </a:lnTo>
                    <a:lnTo>
                      <a:pt x="368" y="1106"/>
                    </a:lnTo>
                    <a:lnTo>
                      <a:pt x="356" y="1119"/>
                    </a:lnTo>
                    <a:lnTo>
                      <a:pt x="309" y="1114"/>
                    </a:lnTo>
                    <a:lnTo>
                      <a:pt x="289" y="1089"/>
                    </a:lnTo>
                    <a:lnTo>
                      <a:pt x="297" y="1065"/>
                    </a:lnTo>
                    <a:lnTo>
                      <a:pt x="315" y="1048"/>
                    </a:lnTo>
                    <a:lnTo>
                      <a:pt x="331" y="1043"/>
                    </a:lnTo>
                    <a:lnTo>
                      <a:pt x="339" y="1023"/>
                    </a:lnTo>
                    <a:lnTo>
                      <a:pt x="331" y="1014"/>
                    </a:lnTo>
                    <a:lnTo>
                      <a:pt x="309" y="989"/>
                    </a:lnTo>
                    <a:lnTo>
                      <a:pt x="301" y="981"/>
                    </a:lnTo>
                    <a:lnTo>
                      <a:pt x="284" y="998"/>
                    </a:lnTo>
                    <a:lnTo>
                      <a:pt x="284" y="1014"/>
                    </a:lnTo>
                    <a:lnTo>
                      <a:pt x="267" y="1026"/>
                    </a:lnTo>
                    <a:lnTo>
                      <a:pt x="250" y="1035"/>
                    </a:lnTo>
                    <a:lnTo>
                      <a:pt x="230" y="1035"/>
                    </a:lnTo>
                    <a:lnTo>
                      <a:pt x="210" y="1014"/>
                    </a:lnTo>
                    <a:lnTo>
                      <a:pt x="213" y="993"/>
                    </a:lnTo>
                    <a:lnTo>
                      <a:pt x="235" y="972"/>
                    </a:lnTo>
                    <a:lnTo>
                      <a:pt x="243" y="939"/>
                    </a:lnTo>
                    <a:lnTo>
                      <a:pt x="276" y="926"/>
                    </a:lnTo>
                    <a:lnTo>
                      <a:pt x="306" y="917"/>
                    </a:lnTo>
                    <a:lnTo>
                      <a:pt x="292" y="904"/>
                    </a:lnTo>
                    <a:lnTo>
                      <a:pt x="264" y="912"/>
                    </a:lnTo>
                    <a:lnTo>
                      <a:pt x="243" y="912"/>
                    </a:lnTo>
                    <a:lnTo>
                      <a:pt x="230" y="900"/>
                    </a:lnTo>
                    <a:lnTo>
                      <a:pt x="201" y="922"/>
                    </a:lnTo>
                    <a:lnTo>
                      <a:pt x="196" y="939"/>
                    </a:lnTo>
                    <a:lnTo>
                      <a:pt x="168" y="956"/>
                    </a:lnTo>
                    <a:lnTo>
                      <a:pt x="154" y="934"/>
                    </a:lnTo>
                    <a:lnTo>
                      <a:pt x="146" y="922"/>
                    </a:lnTo>
                    <a:lnTo>
                      <a:pt x="163" y="893"/>
                    </a:lnTo>
                    <a:lnTo>
                      <a:pt x="171" y="863"/>
                    </a:lnTo>
                    <a:lnTo>
                      <a:pt x="163" y="842"/>
                    </a:lnTo>
                    <a:lnTo>
                      <a:pt x="184" y="825"/>
                    </a:lnTo>
                    <a:lnTo>
                      <a:pt x="222" y="842"/>
                    </a:lnTo>
                    <a:lnTo>
                      <a:pt x="255" y="830"/>
                    </a:lnTo>
                    <a:lnTo>
                      <a:pt x="292" y="833"/>
                    </a:lnTo>
                    <a:lnTo>
                      <a:pt x="292" y="808"/>
                    </a:lnTo>
                    <a:lnTo>
                      <a:pt x="255" y="800"/>
                    </a:lnTo>
                    <a:lnTo>
                      <a:pt x="210" y="791"/>
                    </a:lnTo>
                    <a:lnTo>
                      <a:pt x="176" y="741"/>
                    </a:lnTo>
                    <a:lnTo>
                      <a:pt x="153" y="710"/>
                    </a:lnTo>
                    <a:lnTo>
                      <a:pt x="184" y="695"/>
                    </a:lnTo>
                    <a:lnTo>
                      <a:pt x="208" y="663"/>
                    </a:lnTo>
                    <a:lnTo>
                      <a:pt x="208" y="638"/>
                    </a:lnTo>
                    <a:lnTo>
                      <a:pt x="196" y="600"/>
                    </a:lnTo>
                    <a:lnTo>
                      <a:pt x="159" y="588"/>
                    </a:lnTo>
                    <a:lnTo>
                      <a:pt x="124" y="591"/>
                    </a:lnTo>
                    <a:lnTo>
                      <a:pt x="112" y="561"/>
                    </a:lnTo>
                    <a:lnTo>
                      <a:pt x="84" y="532"/>
                    </a:lnTo>
                    <a:lnTo>
                      <a:pt x="87" y="410"/>
                    </a:lnTo>
                    <a:lnTo>
                      <a:pt x="117" y="401"/>
                    </a:lnTo>
                    <a:lnTo>
                      <a:pt x="154" y="410"/>
                    </a:lnTo>
                    <a:lnTo>
                      <a:pt x="163" y="443"/>
                    </a:lnTo>
                    <a:lnTo>
                      <a:pt x="163" y="472"/>
                    </a:lnTo>
                    <a:lnTo>
                      <a:pt x="184" y="497"/>
                    </a:lnTo>
                    <a:lnTo>
                      <a:pt x="222" y="510"/>
                    </a:lnTo>
                    <a:lnTo>
                      <a:pt x="222" y="494"/>
                    </a:lnTo>
                    <a:lnTo>
                      <a:pt x="193" y="472"/>
                    </a:lnTo>
                    <a:lnTo>
                      <a:pt x="180" y="452"/>
                    </a:lnTo>
                    <a:lnTo>
                      <a:pt x="180" y="401"/>
                    </a:lnTo>
                    <a:lnTo>
                      <a:pt x="168" y="384"/>
                    </a:lnTo>
                    <a:lnTo>
                      <a:pt x="176" y="342"/>
                    </a:lnTo>
                    <a:lnTo>
                      <a:pt x="159" y="338"/>
                    </a:lnTo>
                    <a:lnTo>
                      <a:pt x="151" y="368"/>
                    </a:lnTo>
                    <a:lnTo>
                      <a:pt x="129" y="388"/>
                    </a:lnTo>
                    <a:lnTo>
                      <a:pt x="104" y="388"/>
                    </a:lnTo>
                    <a:lnTo>
                      <a:pt x="84" y="380"/>
                    </a:lnTo>
                    <a:lnTo>
                      <a:pt x="45" y="354"/>
                    </a:lnTo>
                    <a:lnTo>
                      <a:pt x="3" y="334"/>
                    </a:lnTo>
                    <a:close/>
                  </a:path>
                </a:pathLst>
              </a:custGeom>
              <a:solidFill>
                <a:srgbClr val="EAEAEA"/>
              </a:solidFill>
              <a:ln w="9525" cmpd="sng">
                <a:solidFill>
                  <a:srgbClr val="777777"/>
                </a:solidFill>
                <a:prstDash val="solid"/>
                <a:round/>
                <a:headEnd/>
                <a:tailEnd/>
              </a:ln>
              <a:effectLst>
                <a:outerShdw dist="107763" dir="2700000" algn="ctr" rotWithShape="0">
                  <a:srgbClr val="808080">
                    <a:alpha val="50000"/>
                  </a:srgbClr>
                </a:outerShdw>
              </a:effectLst>
            </p:spPr>
            <p:txBody>
              <a:bodyPr/>
              <a:lstStyle/>
              <a:p>
                <a:pPr latinLnBrk="0">
                  <a:defRPr/>
                </a:pPr>
                <a:endParaRPr kumimoji="0" lang="ko-KR" altLang="en-US" dirty="0">
                  <a:ea typeface="+mn-ea"/>
                </a:endParaRPr>
              </a:p>
            </p:txBody>
          </p:sp>
          <p:sp>
            <p:nvSpPr>
              <p:cNvPr id="120865" name="Oval 48"/>
              <p:cNvSpPr>
                <a:spLocks noChangeArrowheads="1"/>
              </p:cNvSpPr>
              <p:nvPr/>
            </p:nvSpPr>
            <p:spPr bwMode="auto">
              <a:xfrm>
                <a:off x="3273426" y="3236915"/>
                <a:ext cx="1327150" cy="914400"/>
              </a:xfrm>
              <a:prstGeom prst="ellipse">
                <a:avLst/>
              </a:prstGeom>
              <a:solidFill>
                <a:srgbClr val="C0C0C0">
                  <a:alpha val="39999"/>
                </a:srgbClr>
              </a:solidFill>
              <a:ln w="25400">
                <a:solidFill>
                  <a:schemeClr val="accent2"/>
                </a:solidFill>
                <a:prstDash val="sysDot"/>
                <a:round/>
                <a:headEnd/>
                <a:tailEnd/>
              </a:ln>
            </p:spPr>
            <p:txBody>
              <a:bodyPr anchor="ctr"/>
              <a:lstStyle/>
              <a:p>
                <a:pPr algn="ctr" latinLnBrk="0"/>
                <a:endParaRPr kumimoji="0" lang="ko-KR" altLang="ko-KR" sz="1600">
                  <a:solidFill>
                    <a:srgbClr val="FF3300"/>
                  </a:solidFill>
                  <a:latin typeface="돋움" pitchFamily="50" charset="-127"/>
                  <a:ea typeface="돋움" pitchFamily="50" charset="-127"/>
                </a:endParaRPr>
              </a:p>
            </p:txBody>
          </p:sp>
          <p:sp>
            <p:nvSpPr>
              <p:cNvPr id="25" name="Freeform 10"/>
              <p:cNvSpPr>
                <a:spLocks/>
              </p:cNvSpPr>
              <p:nvPr/>
            </p:nvSpPr>
            <p:spPr bwMode="auto">
              <a:xfrm>
                <a:off x="2321875" y="3401404"/>
                <a:ext cx="1576140" cy="977211"/>
              </a:xfrm>
              <a:custGeom>
                <a:avLst/>
                <a:gdLst/>
                <a:ahLst/>
                <a:cxnLst>
                  <a:cxn ang="0">
                    <a:pos x="486" y="834"/>
                  </a:cxn>
                  <a:cxn ang="0">
                    <a:pos x="719" y="804"/>
                  </a:cxn>
                  <a:cxn ang="0">
                    <a:pos x="919" y="804"/>
                  </a:cxn>
                  <a:cxn ang="0">
                    <a:pos x="998" y="812"/>
                  </a:cxn>
                  <a:cxn ang="0">
                    <a:pos x="1031" y="691"/>
                  </a:cxn>
                  <a:cxn ang="0">
                    <a:pos x="874" y="684"/>
                  </a:cxn>
                  <a:cxn ang="0">
                    <a:pos x="914" y="484"/>
                  </a:cxn>
                  <a:cxn ang="0">
                    <a:pos x="835" y="346"/>
                  </a:cxn>
                  <a:cxn ang="0">
                    <a:pos x="907" y="233"/>
                  </a:cxn>
                  <a:cxn ang="0">
                    <a:pos x="815" y="91"/>
                  </a:cxn>
                  <a:cxn ang="0">
                    <a:pos x="602" y="85"/>
                  </a:cxn>
                  <a:cxn ang="0">
                    <a:pos x="517" y="128"/>
                  </a:cxn>
                  <a:cxn ang="0">
                    <a:pos x="502" y="180"/>
                  </a:cxn>
                  <a:cxn ang="0">
                    <a:pos x="481" y="150"/>
                  </a:cxn>
                  <a:cxn ang="0">
                    <a:pos x="461" y="72"/>
                  </a:cxn>
                  <a:cxn ang="0">
                    <a:pos x="407" y="62"/>
                  </a:cxn>
                  <a:cxn ang="0">
                    <a:pos x="347" y="78"/>
                  </a:cxn>
                  <a:cxn ang="0">
                    <a:pos x="308" y="23"/>
                  </a:cxn>
                  <a:cxn ang="0">
                    <a:pos x="233" y="19"/>
                  </a:cxn>
                  <a:cxn ang="0">
                    <a:pos x="167" y="64"/>
                  </a:cxn>
                  <a:cxn ang="0">
                    <a:pos x="204" y="121"/>
                  </a:cxn>
                  <a:cxn ang="0">
                    <a:pos x="175" y="143"/>
                  </a:cxn>
                  <a:cxn ang="0">
                    <a:pos x="139" y="143"/>
                  </a:cxn>
                  <a:cxn ang="0">
                    <a:pos x="102" y="197"/>
                  </a:cxn>
                  <a:cxn ang="0">
                    <a:pos x="126" y="76"/>
                  </a:cxn>
                  <a:cxn ang="0">
                    <a:pos x="92" y="134"/>
                  </a:cxn>
                  <a:cxn ang="0">
                    <a:pos x="59" y="118"/>
                  </a:cxn>
                  <a:cxn ang="0">
                    <a:pos x="67" y="160"/>
                  </a:cxn>
                  <a:cxn ang="0">
                    <a:pos x="7" y="194"/>
                  </a:cxn>
                  <a:cxn ang="0">
                    <a:pos x="56" y="272"/>
                  </a:cxn>
                  <a:cxn ang="0">
                    <a:pos x="16" y="293"/>
                  </a:cxn>
                  <a:cxn ang="0">
                    <a:pos x="73" y="280"/>
                  </a:cxn>
                  <a:cxn ang="0">
                    <a:pos x="112" y="346"/>
                  </a:cxn>
                  <a:cxn ang="0">
                    <a:pos x="133" y="358"/>
                  </a:cxn>
                  <a:cxn ang="0">
                    <a:pos x="229" y="318"/>
                  </a:cxn>
                  <a:cxn ang="0">
                    <a:pos x="230" y="425"/>
                  </a:cxn>
                  <a:cxn ang="0">
                    <a:pos x="268" y="496"/>
                  </a:cxn>
                  <a:cxn ang="0">
                    <a:pos x="310" y="500"/>
                  </a:cxn>
                  <a:cxn ang="0">
                    <a:pos x="265" y="552"/>
                  </a:cxn>
                  <a:cxn ang="0">
                    <a:pos x="306" y="558"/>
                  </a:cxn>
                  <a:cxn ang="0">
                    <a:pos x="295" y="590"/>
                  </a:cxn>
                  <a:cxn ang="0">
                    <a:pos x="284" y="622"/>
                  </a:cxn>
                  <a:cxn ang="0">
                    <a:pos x="276" y="706"/>
                  </a:cxn>
                  <a:cxn ang="0">
                    <a:pos x="318" y="751"/>
                  </a:cxn>
                  <a:cxn ang="0">
                    <a:pos x="305" y="764"/>
                  </a:cxn>
                  <a:cxn ang="0">
                    <a:pos x="258" y="769"/>
                  </a:cxn>
                  <a:cxn ang="0">
                    <a:pos x="329" y="805"/>
                  </a:cxn>
                  <a:cxn ang="0">
                    <a:pos x="377" y="892"/>
                  </a:cxn>
                </a:cxnLst>
                <a:rect l="0" t="0" r="r" b="b"/>
                <a:pathLst>
                  <a:path w="1078" h="892">
                    <a:moveTo>
                      <a:pt x="377" y="892"/>
                    </a:moveTo>
                    <a:lnTo>
                      <a:pt x="382" y="892"/>
                    </a:lnTo>
                    <a:lnTo>
                      <a:pt x="432" y="871"/>
                    </a:lnTo>
                    <a:lnTo>
                      <a:pt x="486" y="834"/>
                    </a:lnTo>
                    <a:lnTo>
                      <a:pt x="527" y="780"/>
                    </a:lnTo>
                    <a:lnTo>
                      <a:pt x="590" y="750"/>
                    </a:lnTo>
                    <a:lnTo>
                      <a:pt x="656" y="755"/>
                    </a:lnTo>
                    <a:lnTo>
                      <a:pt x="719" y="804"/>
                    </a:lnTo>
                    <a:lnTo>
                      <a:pt x="774" y="812"/>
                    </a:lnTo>
                    <a:lnTo>
                      <a:pt x="818" y="784"/>
                    </a:lnTo>
                    <a:lnTo>
                      <a:pt x="874" y="770"/>
                    </a:lnTo>
                    <a:lnTo>
                      <a:pt x="919" y="804"/>
                    </a:lnTo>
                    <a:lnTo>
                      <a:pt x="919" y="842"/>
                    </a:lnTo>
                    <a:lnTo>
                      <a:pt x="944" y="859"/>
                    </a:lnTo>
                    <a:lnTo>
                      <a:pt x="982" y="854"/>
                    </a:lnTo>
                    <a:lnTo>
                      <a:pt x="998" y="812"/>
                    </a:lnTo>
                    <a:lnTo>
                      <a:pt x="1024" y="792"/>
                    </a:lnTo>
                    <a:lnTo>
                      <a:pt x="1078" y="792"/>
                    </a:lnTo>
                    <a:lnTo>
                      <a:pt x="1052" y="721"/>
                    </a:lnTo>
                    <a:lnTo>
                      <a:pt x="1031" y="691"/>
                    </a:lnTo>
                    <a:lnTo>
                      <a:pt x="985" y="662"/>
                    </a:lnTo>
                    <a:lnTo>
                      <a:pt x="960" y="688"/>
                    </a:lnTo>
                    <a:lnTo>
                      <a:pt x="923" y="696"/>
                    </a:lnTo>
                    <a:lnTo>
                      <a:pt x="874" y="684"/>
                    </a:lnTo>
                    <a:lnTo>
                      <a:pt x="848" y="646"/>
                    </a:lnTo>
                    <a:lnTo>
                      <a:pt x="857" y="596"/>
                    </a:lnTo>
                    <a:lnTo>
                      <a:pt x="864" y="524"/>
                    </a:lnTo>
                    <a:lnTo>
                      <a:pt x="914" y="484"/>
                    </a:lnTo>
                    <a:lnTo>
                      <a:pt x="877" y="445"/>
                    </a:lnTo>
                    <a:lnTo>
                      <a:pt x="886" y="416"/>
                    </a:lnTo>
                    <a:lnTo>
                      <a:pt x="877" y="388"/>
                    </a:lnTo>
                    <a:lnTo>
                      <a:pt x="835" y="346"/>
                    </a:lnTo>
                    <a:lnTo>
                      <a:pt x="832" y="292"/>
                    </a:lnTo>
                    <a:lnTo>
                      <a:pt x="848" y="254"/>
                    </a:lnTo>
                    <a:lnTo>
                      <a:pt x="886" y="241"/>
                    </a:lnTo>
                    <a:lnTo>
                      <a:pt x="907" y="233"/>
                    </a:lnTo>
                    <a:lnTo>
                      <a:pt x="911" y="204"/>
                    </a:lnTo>
                    <a:lnTo>
                      <a:pt x="881" y="187"/>
                    </a:lnTo>
                    <a:lnTo>
                      <a:pt x="835" y="150"/>
                    </a:lnTo>
                    <a:lnTo>
                      <a:pt x="815" y="91"/>
                    </a:lnTo>
                    <a:lnTo>
                      <a:pt x="785" y="71"/>
                    </a:lnTo>
                    <a:lnTo>
                      <a:pt x="732" y="58"/>
                    </a:lnTo>
                    <a:lnTo>
                      <a:pt x="648" y="74"/>
                    </a:lnTo>
                    <a:lnTo>
                      <a:pt x="602" y="85"/>
                    </a:lnTo>
                    <a:lnTo>
                      <a:pt x="580" y="115"/>
                    </a:lnTo>
                    <a:lnTo>
                      <a:pt x="562" y="124"/>
                    </a:lnTo>
                    <a:lnTo>
                      <a:pt x="529" y="118"/>
                    </a:lnTo>
                    <a:lnTo>
                      <a:pt x="517" y="128"/>
                    </a:lnTo>
                    <a:lnTo>
                      <a:pt x="506" y="145"/>
                    </a:lnTo>
                    <a:lnTo>
                      <a:pt x="512" y="158"/>
                    </a:lnTo>
                    <a:lnTo>
                      <a:pt x="515" y="173"/>
                    </a:lnTo>
                    <a:lnTo>
                      <a:pt x="502" y="180"/>
                    </a:lnTo>
                    <a:lnTo>
                      <a:pt x="503" y="215"/>
                    </a:lnTo>
                    <a:lnTo>
                      <a:pt x="494" y="211"/>
                    </a:lnTo>
                    <a:lnTo>
                      <a:pt x="490" y="176"/>
                    </a:lnTo>
                    <a:lnTo>
                      <a:pt x="481" y="150"/>
                    </a:lnTo>
                    <a:lnTo>
                      <a:pt x="474" y="95"/>
                    </a:lnTo>
                    <a:lnTo>
                      <a:pt x="468" y="95"/>
                    </a:lnTo>
                    <a:lnTo>
                      <a:pt x="462" y="89"/>
                    </a:lnTo>
                    <a:lnTo>
                      <a:pt x="461" y="72"/>
                    </a:lnTo>
                    <a:lnTo>
                      <a:pt x="455" y="48"/>
                    </a:lnTo>
                    <a:lnTo>
                      <a:pt x="433" y="56"/>
                    </a:lnTo>
                    <a:lnTo>
                      <a:pt x="413" y="71"/>
                    </a:lnTo>
                    <a:lnTo>
                      <a:pt x="407" y="62"/>
                    </a:lnTo>
                    <a:lnTo>
                      <a:pt x="404" y="44"/>
                    </a:lnTo>
                    <a:lnTo>
                      <a:pt x="385" y="30"/>
                    </a:lnTo>
                    <a:lnTo>
                      <a:pt x="368" y="71"/>
                    </a:lnTo>
                    <a:lnTo>
                      <a:pt x="347" y="78"/>
                    </a:lnTo>
                    <a:lnTo>
                      <a:pt x="340" y="62"/>
                    </a:lnTo>
                    <a:lnTo>
                      <a:pt x="348" y="43"/>
                    </a:lnTo>
                    <a:lnTo>
                      <a:pt x="325" y="28"/>
                    </a:lnTo>
                    <a:lnTo>
                      <a:pt x="308" y="23"/>
                    </a:lnTo>
                    <a:lnTo>
                      <a:pt x="305" y="11"/>
                    </a:lnTo>
                    <a:lnTo>
                      <a:pt x="288" y="0"/>
                    </a:lnTo>
                    <a:lnTo>
                      <a:pt x="268" y="12"/>
                    </a:lnTo>
                    <a:lnTo>
                      <a:pt x="233" y="19"/>
                    </a:lnTo>
                    <a:lnTo>
                      <a:pt x="197" y="22"/>
                    </a:lnTo>
                    <a:lnTo>
                      <a:pt x="178" y="47"/>
                    </a:lnTo>
                    <a:lnTo>
                      <a:pt x="158" y="54"/>
                    </a:lnTo>
                    <a:lnTo>
                      <a:pt x="167" y="64"/>
                    </a:lnTo>
                    <a:lnTo>
                      <a:pt x="193" y="76"/>
                    </a:lnTo>
                    <a:lnTo>
                      <a:pt x="210" y="102"/>
                    </a:lnTo>
                    <a:lnTo>
                      <a:pt x="210" y="114"/>
                    </a:lnTo>
                    <a:lnTo>
                      <a:pt x="204" y="121"/>
                    </a:lnTo>
                    <a:lnTo>
                      <a:pt x="191" y="118"/>
                    </a:lnTo>
                    <a:lnTo>
                      <a:pt x="168" y="126"/>
                    </a:lnTo>
                    <a:lnTo>
                      <a:pt x="166" y="134"/>
                    </a:lnTo>
                    <a:lnTo>
                      <a:pt x="175" y="143"/>
                    </a:lnTo>
                    <a:lnTo>
                      <a:pt x="167" y="157"/>
                    </a:lnTo>
                    <a:lnTo>
                      <a:pt x="155" y="166"/>
                    </a:lnTo>
                    <a:lnTo>
                      <a:pt x="145" y="157"/>
                    </a:lnTo>
                    <a:lnTo>
                      <a:pt x="139" y="143"/>
                    </a:lnTo>
                    <a:lnTo>
                      <a:pt x="133" y="150"/>
                    </a:lnTo>
                    <a:lnTo>
                      <a:pt x="138" y="176"/>
                    </a:lnTo>
                    <a:lnTo>
                      <a:pt x="118" y="194"/>
                    </a:lnTo>
                    <a:lnTo>
                      <a:pt x="102" y="197"/>
                    </a:lnTo>
                    <a:lnTo>
                      <a:pt x="104" y="178"/>
                    </a:lnTo>
                    <a:lnTo>
                      <a:pt x="109" y="156"/>
                    </a:lnTo>
                    <a:lnTo>
                      <a:pt x="130" y="107"/>
                    </a:lnTo>
                    <a:lnTo>
                      <a:pt x="126" y="76"/>
                    </a:lnTo>
                    <a:lnTo>
                      <a:pt x="121" y="62"/>
                    </a:lnTo>
                    <a:lnTo>
                      <a:pt x="109" y="56"/>
                    </a:lnTo>
                    <a:lnTo>
                      <a:pt x="101" y="122"/>
                    </a:lnTo>
                    <a:lnTo>
                      <a:pt x="92" y="134"/>
                    </a:lnTo>
                    <a:lnTo>
                      <a:pt x="77" y="140"/>
                    </a:lnTo>
                    <a:lnTo>
                      <a:pt x="67" y="127"/>
                    </a:lnTo>
                    <a:lnTo>
                      <a:pt x="67" y="115"/>
                    </a:lnTo>
                    <a:lnTo>
                      <a:pt x="59" y="118"/>
                    </a:lnTo>
                    <a:lnTo>
                      <a:pt x="43" y="120"/>
                    </a:lnTo>
                    <a:lnTo>
                      <a:pt x="36" y="126"/>
                    </a:lnTo>
                    <a:lnTo>
                      <a:pt x="44" y="138"/>
                    </a:lnTo>
                    <a:lnTo>
                      <a:pt x="67" y="160"/>
                    </a:lnTo>
                    <a:lnTo>
                      <a:pt x="49" y="176"/>
                    </a:lnTo>
                    <a:lnTo>
                      <a:pt x="50" y="198"/>
                    </a:lnTo>
                    <a:lnTo>
                      <a:pt x="35" y="202"/>
                    </a:lnTo>
                    <a:lnTo>
                      <a:pt x="7" y="194"/>
                    </a:lnTo>
                    <a:lnTo>
                      <a:pt x="0" y="214"/>
                    </a:lnTo>
                    <a:lnTo>
                      <a:pt x="36" y="233"/>
                    </a:lnTo>
                    <a:lnTo>
                      <a:pt x="55" y="258"/>
                    </a:lnTo>
                    <a:lnTo>
                      <a:pt x="56" y="272"/>
                    </a:lnTo>
                    <a:lnTo>
                      <a:pt x="50" y="277"/>
                    </a:lnTo>
                    <a:lnTo>
                      <a:pt x="36" y="271"/>
                    </a:lnTo>
                    <a:lnTo>
                      <a:pt x="22" y="272"/>
                    </a:lnTo>
                    <a:lnTo>
                      <a:pt x="16" y="293"/>
                    </a:lnTo>
                    <a:lnTo>
                      <a:pt x="18" y="302"/>
                    </a:lnTo>
                    <a:lnTo>
                      <a:pt x="37" y="307"/>
                    </a:lnTo>
                    <a:lnTo>
                      <a:pt x="54" y="298"/>
                    </a:lnTo>
                    <a:lnTo>
                      <a:pt x="73" y="280"/>
                    </a:lnTo>
                    <a:lnTo>
                      <a:pt x="89" y="287"/>
                    </a:lnTo>
                    <a:lnTo>
                      <a:pt x="100" y="312"/>
                    </a:lnTo>
                    <a:lnTo>
                      <a:pt x="114" y="325"/>
                    </a:lnTo>
                    <a:lnTo>
                      <a:pt x="112" y="346"/>
                    </a:lnTo>
                    <a:lnTo>
                      <a:pt x="101" y="377"/>
                    </a:lnTo>
                    <a:lnTo>
                      <a:pt x="106" y="379"/>
                    </a:lnTo>
                    <a:lnTo>
                      <a:pt x="118" y="373"/>
                    </a:lnTo>
                    <a:lnTo>
                      <a:pt x="133" y="358"/>
                    </a:lnTo>
                    <a:lnTo>
                      <a:pt x="146" y="340"/>
                    </a:lnTo>
                    <a:lnTo>
                      <a:pt x="176" y="335"/>
                    </a:lnTo>
                    <a:lnTo>
                      <a:pt x="192" y="316"/>
                    </a:lnTo>
                    <a:lnTo>
                      <a:pt x="229" y="318"/>
                    </a:lnTo>
                    <a:lnTo>
                      <a:pt x="264" y="341"/>
                    </a:lnTo>
                    <a:lnTo>
                      <a:pt x="251" y="362"/>
                    </a:lnTo>
                    <a:lnTo>
                      <a:pt x="230" y="395"/>
                    </a:lnTo>
                    <a:lnTo>
                      <a:pt x="230" y="425"/>
                    </a:lnTo>
                    <a:lnTo>
                      <a:pt x="247" y="487"/>
                    </a:lnTo>
                    <a:lnTo>
                      <a:pt x="247" y="500"/>
                    </a:lnTo>
                    <a:lnTo>
                      <a:pt x="264" y="512"/>
                    </a:lnTo>
                    <a:lnTo>
                      <a:pt x="268" y="496"/>
                    </a:lnTo>
                    <a:lnTo>
                      <a:pt x="272" y="487"/>
                    </a:lnTo>
                    <a:lnTo>
                      <a:pt x="288" y="484"/>
                    </a:lnTo>
                    <a:lnTo>
                      <a:pt x="304" y="485"/>
                    </a:lnTo>
                    <a:lnTo>
                      <a:pt x="310" y="500"/>
                    </a:lnTo>
                    <a:lnTo>
                      <a:pt x="306" y="512"/>
                    </a:lnTo>
                    <a:lnTo>
                      <a:pt x="272" y="521"/>
                    </a:lnTo>
                    <a:lnTo>
                      <a:pt x="260" y="534"/>
                    </a:lnTo>
                    <a:lnTo>
                      <a:pt x="265" y="552"/>
                    </a:lnTo>
                    <a:lnTo>
                      <a:pt x="247" y="554"/>
                    </a:lnTo>
                    <a:lnTo>
                      <a:pt x="275" y="575"/>
                    </a:lnTo>
                    <a:lnTo>
                      <a:pt x="293" y="565"/>
                    </a:lnTo>
                    <a:lnTo>
                      <a:pt x="306" y="558"/>
                    </a:lnTo>
                    <a:lnTo>
                      <a:pt x="306" y="578"/>
                    </a:lnTo>
                    <a:lnTo>
                      <a:pt x="314" y="598"/>
                    </a:lnTo>
                    <a:lnTo>
                      <a:pt x="306" y="598"/>
                    </a:lnTo>
                    <a:lnTo>
                      <a:pt x="295" y="590"/>
                    </a:lnTo>
                    <a:lnTo>
                      <a:pt x="281" y="592"/>
                    </a:lnTo>
                    <a:lnTo>
                      <a:pt x="259" y="622"/>
                    </a:lnTo>
                    <a:lnTo>
                      <a:pt x="264" y="630"/>
                    </a:lnTo>
                    <a:lnTo>
                      <a:pt x="284" y="622"/>
                    </a:lnTo>
                    <a:lnTo>
                      <a:pt x="310" y="626"/>
                    </a:lnTo>
                    <a:lnTo>
                      <a:pt x="314" y="647"/>
                    </a:lnTo>
                    <a:lnTo>
                      <a:pt x="284" y="660"/>
                    </a:lnTo>
                    <a:lnTo>
                      <a:pt x="276" y="706"/>
                    </a:lnTo>
                    <a:lnTo>
                      <a:pt x="289" y="722"/>
                    </a:lnTo>
                    <a:lnTo>
                      <a:pt x="323" y="734"/>
                    </a:lnTo>
                    <a:lnTo>
                      <a:pt x="326" y="745"/>
                    </a:lnTo>
                    <a:lnTo>
                      <a:pt x="318" y="751"/>
                    </a:lnTo>
                    <a:lnTo>
                      <a:pt x="308" y="742"/>
                    </a:lnTo>
                    <a:lnTo>
                      <a:pt x="299" y="742"/>
                    </a:lnTo>
                    <a:lnTo>
                      <a:pt x="294" y="754"/>
                    </a:lnTo>
                    <a:lnTo>
                      <a:pt x="305" y="764"/>
                    </a:lnTo>
                    <a:lnTo>
                      <a:pt x="306" y="769"/>
                    </a:lnTo>
                    <a:lnTo>
                      <a:pt x="296" y="770"/>
                    </a:lnTo>
                    <a:lnTo>
                      <a:pt x="270" y="752"/>
                    </a:lnTo>
                    <a:lnTo>
                      <a:pt x="258" y="769"/>
                    </a:lnTo>
                    <a:lnTo>
                      <a:pt x="257" y="784"/>
                    </a:lnTo>
                    <a:lnTo>
                      <a:pt x="276" y="779"/>
                    </a:lnTo>
                    <a:lnTo>
                      <a:pt x="306" y="786"/>
                    </a:lnTo>
                    <a:lnTo>
                      <a:pt x="329" y="805"/>
                    </a:lnTo>
                    <a:lnTo>
                      <a:pt x="348" y="810"/>
                    </a:lnTo>
                    <a:lnTo>
                      <a:pt x="352" y="852"/>
                    </a:lnTo>
                    <a:lnTo>
                      <a:pt x="372" y="860"/>
                    </a:lnTo>
                    <a:lnTo>
                      <a:pt x="377" y="892"/>
                    </a:lnTo>
                    <a:close/>
                  </a:path>
                </a:pathLst>
              </a:custGeom>
              <a:solidFill>
                <a:srgbClr val="EAEAEA"/>
              </a:solidFill>
              <a:ln w="9525" cmpd="sng">
                <a:solidFill>
                  <a:srgbClr val="777777"/>
                </a:solidFill>
                <a:prstDash val="solid"/>
                <a:round/>
                <a:headEnd/>
                <a:tailEnd/>
              </a:ln>
              <a:effectLst>
                <a:outerShdw dist="107763" dir="2700000" algn="ctr" rotWithShape="0">
                  <a:srgbClr val="808080">
                    <a:alpha val="50000"/>
                  </a:srgbClr>
                </a:outerShdw>
              </a:effectLst>
            </p:spPr>
            <p:txBody>
              <a:bodyPr/>
              <a:lstStyle/>
              <a:p>
                <a:pPr latinLnBrk="0">
                  <a:defRPr/>
                </a:pPr>
                <a:endParaRPr kumimoji="0" lang="ko-KR" altLang="en-US" dirty="0">
                  <a:ea typeface="+mn-ea"/>
                </a:endParaRPr>
              </a:p>
            </p:txBody>
          </p:sp>
          <p:sp>
            <p:nvSpPr>
              <p:cNvPr id="26" name="Freeform 11"/>
              <p:cNvSpPr>
                <a:spLocks/>
              </p:cNvSpPr>
              <p:nvPr/>
            </p:nvSpPr>
            <p:spPr bwMode="auto">
              <a:xfrm>
                <a:off x="3033316" y="2771680"/>
                <a:ext cx="362981" cy="224576"/>
              </a:xfrm>
              <a:custGeom>
                <a:avLst/>
                <a:gdLst/>
                <a:ahLst/>
                <a:cxnLst>
                  <a:cxn ang="0">
                    <a:pos x="210" y="183"/>
                  </a:cxn>
                  <a:cxn ang="0">
                    <a:pos x="220" y="174"/>
                  </a:cxn>
                  <a:cxn ang="0">
                    <a:pos x="230" y="166"/>
                  </a:cxn>
                  <a:cxn ang="0">
                    <a:pos x="232" y="150"/>
                  </a:cxn>
                  <a:cxn ang="0">
                    <a:pos x="228" y="138"/>
                  </a:cxn>
                  <a:cxn ang="0">
                    <a:pos x="233" y="125"/>
                  </a:cxn>
                  <a:cxn ang="0">
                    <a:pos x="245" y="118"/>
                  </a:cxn>
                  <a:cxn ang="0">
                    <a:pos x="247" y="100"/>
                  </a:cxn>
                  <a:cxn ang="0">
                    <a:pos x="224" y="101"/>
                  </a:cxn>
                  <a:cxn ang="0">
                    <a:pos x="210" y="107"/>
                  </a:cxn>
                  <a:cxn ang="0">
                    <a:pos x="200" y="105"/>
                  </a:cxn>
                  <a:cxn ang="0">
                    <a:pos x="204" y="90"/>
                  </a:cxn>
                  <a:cxn ang="0">
                    <a:pos x="209" y="78"/>
                  </a:cxn>
                  <a:cxn ang="0">
                    <a:pos x="210" y="62"/>
                  </a:cxn>
                  <a:cxn ang="0">
                    <a:pos x="208" y="50"/>
                  </a:cxn>
                  <a:cxn ang="0">
                    <a:pos x="196" y="39"/>
                  </a:cxn>
                  <a:cxn ang="0">
                    <a:pos x="197" y="27"/>
                  </a:cxn>
                  <a:cxn ang="0">
                    <a:pos x="197" y="10"/>
                  </a:cxn>
                  <a:cxn ang="0">
                    <a:pos x="181" y="5"/>
                  </a:cxn>
                  <a:cxn ang="0">
                    <a:pos x="169" y="8"/>
                  </a:cxn>
                  <a:cxn ang="0">
                    <a:pos x="156" y="2"/>
                  </a:cxn>
                  <a:cxn ang="0">
                    <a:pos x="145" y="10"/>
                  </a:cxn>
                  <a:cxn ang="0">
                    <a:pos x="136" y="17"/>
                  </a:cxn>
                  <a:cxn ang="0">
                    <a:pos x="133" y="30"/>
                  </a:cxn>
                  <a:cxn ang="0">
                    <a:pos x="131" y="42"/>
                  </a:cxn>
                  <a:cxn ang="0">
                    <a:pos x="125" y="53"/>
                  </a:cxn>
                  <a:cxn ang="0">
                    <a:pos x="116" y="40"/>
                  </a:cxn>
                  <a:cxn ang="0">
                    <a:pos x="103" y="36"/>
                  </a:cxn>
                  <a:cxn ang="0">
                    <a:pos x="88" y="42"/>
                  </a:cxn>
                  <a:cxn ang="0">
                    <a:pos x="85" y="54"/>
                  </a:cxn>
                  <a:cxn ang="0">
                    <a:pos x="83" y="69"/>
                  </a:cxn>
                  <a:cxn ang="0">
                    <a:pos x="80" y="82"/>
                  </a:cxn>
                  <a:cxn ang="0">
                    <a:pos x="70" y="86"/>
                  </a:cxn>
                  <a:cxn ang="0">
                    <a:pos x="38" y="83"/>
                  </a:cxn>
                  <a:cxn ang="0">
                    <a:pos x="17" y="92"/>
                  </a:cxn>
                  <a:cxn ang="0">
                    <a:pos x="7" y="105"/>
                  </a:cxn>
                  <a:cxn ang="0">
                    <a:pos x="16" y="119"/>
                  </a:cxn>
                  <a:cxn ang="0">
                    <a:pos x="28" y="122"/>
                  </a:cxn>
                  <a:cxn ang="0">
                    <a:pos x="38" y="130"/>
                  </a:cxn>
                  <a:cxn ang="0">
                    <a:pos x="36" y="147"/>
                  </a:cxn>
                  <a:cxn ang="0">
                    <a:pos x="34" y="158"/>
                  </a:cxn>
                  <a:cxn ang="0">
                    <a:pos x="34" y="171"/>
                  </a:cxn>
                  <a:cxn ang="0">
                    <a:pos x="48" y="170"/>
                  </a:cxn>
                  <a:cxn ang="0">
                    <a:pos x="60" y="159"/>
                  </a:cxn>
                  <a:cxn ang="0">
                    <a:pos x="67" y="167"/>
                  </a:cxn>
                  <a:cxn ang="0">
                    <a:pos x="73" y="182"/>
                  </a:cxn>
                  <a:cxn ang="0">
                    <a:pos x="80" y="194"/>
                  </a:cxn>
                  <a:cxn ang="0">
                    <a:pos x="89" y="196"/>
                  </a:cxn>
                  <a:cxn ang="0">
                    <a:pos x="98" y="189"/>
                  </a:cxn>
                  <a:cxn ang="0">
                    <a:pos x="107" y="198"/>
                  </a:cxn>
                  <a:cxn ang="0">
                    <a:pos x="120" y="194"/>
                  </a:cxn>
                  <a:cxn ang="0">
                    <a:pos x="132" y="184"/>
                  </a:cxn>
                  <a:cxn ang="0">
                    <a:pos x="142" y="178"/>
                  </a:cxn>
                  <a:cxn ang="0">
                    <a:pos x="154" y="185"/>
                  </a:cxn>
                  <a:cxn ang="0">
                    <a:pos x="160" y="183"/>
                  </a:cxn>
                  <a:cxn ang="0">
                    <a:pos x="161" y="195"/>
                  </a:cxn>
                  <a:cxn ang="0">
                    <a:pos x="170" y="206"/>
                  </a:cxn>
                  <a:cxn ang="0">
                    <a:pos x="184" y="200"/>
                  </a:cxn>
                  <a:cxn ang="0">
                    <a:pos x="192" y="191"/>
                  </a:cxn>
                </a:cxnLst>
                <a:rect l="0" t="0" r="r" b="b"/>
                <a:pathLst>
                  <a:path w="251" h="206">
                    <a:moveTo>
                      <a:pt x="198" y="182"/>
                    </a:moveTo>
                    <a:lnTo>
                      <a:pt x="199" y="182"/>
                    </a:lnTo>
                    <a:lnTo>
                      <a:pt x="200" y="180"/>
                    </a:lnTo>
                    <a:lnTo>
                      <a:pt x="202" y="180"/>
                    </a:lnTo>
                    <a:lnTo>
                      <a:pt x="203" y="180"/>
                    </a:lnTo>
                    <a:lnTo>
                      <a:pt x="203" y="182"/>
                    </a:lnTo>
                    <a:lnTo>
                      <a:pt x="203" y="180"/>
                    </a:lnTo>
                    <a:lnTo>
                      <a:pt x="204" y="182"/>
                    </a:lnTo>
                    <a:lnTo>
                      <a:pt x="205" y="182"/>
                    </a:lnTo>
                    <a:lnTo>
                      <a:pt x="206" y="183"/>
                    </a:lnTo>
                    <a:lnTo>
                      <a:pt x="209" y="183"/>
                    </a:lnTo>
                    <a:lnTo>
                      <a:pt x="209" y="184"/>
                    </a:lnTo>
                    <a:lnTo>
                      <a:pt x="210" y="184"/>
                    </a:lnTo>
                    <a:lnTo>
                      <a:pt x="210" y="183"/>
                    </a:lnTo>
                    <a:lnTo>
                      <a:pt x="211" y="182"/>
                    </a:lnTo>
                    <a:lnTo>
                      <a:pt x="211" y="180"/>
                    </a:lnTo>
                    <a:lnTo>
                      <a:pt x="212" y="179"/>
                    </a:lnTo>
                    <a:lnTo>
                      <a:pt x="214" y="178"/>
                    </a:lnTo>
                    <a:lnTo>
                      <a:pt x="214" y="177"/>
                    </a:lnTo>
                    <a:lnTo>
                      <a:pt x="215" y="177"/>
                    </a:lnTo>
                    <a:lnTo>
                      <a:pt x="216" y="177"/>
                    </a:lnTo>
                    <a:lnTo>
                      <a:pt x="217" y="177"/>
                    </a:lnTo>
                    <a:lnTo>
                      <a:pt x="218" y="177"/>
                    </a:lnTo>
                    <a:lnTo>
                      <a:pt x="220" y="177"/>
                    </a:lnTo>
                    <a:lnTo>
                      <a:pt x="220" y="176"/>
                    </a:lnTo>
                    <a:lnTo>
                      <a:pt x="221" y="176"/>
                    </a:lnTo>
                    <a:lnTo>
                      <a:pt x="221" y="174"/>
                    </a:lnTo>
                    <a:lnTo>
                      <a:pt x="220" y="174"/>
                    </a:lnTo>
                    <a:lnTo>
                      <a:pt x="218" y="174"/>
                    </a:lnTo>
                    <a:lnTo>
                      <a:pt x="218" y="173"/>
                    </a:lnTo>
                    <a:lnTo>
                      <a:pt x="218" y="172"/>
                    </a:lnTo>
                    <a:lnTo>
                      <a:pt x="218" y="171"/>
                    </a:lnTo>
                    <a:lnTo>
                      <a:pt x="220" y="171"/>
                    </a:lnTo>
                    <a:lnTo>
                      <a:pt x="221" y="171"/>
                    </a:lnTo>
                    <a:lnTo>
                      <a:pt x="222" y="172"/>
                    </a:lnTo>
                    <a:lnTo>
                      <a:pt x="223" y="172"/>
                    </a:lnTo>
                    <a:lnTo>
                      <a:pt x="224" y="171"/>
                    </a:lnTo>
                    <a:lnTo>
                      <a:pt x="226" y="171"/>
                    </a:lnTo>
                    <a:lnTo>
                      <a:pt x="227" y="170"/>
                    </a:lnTo>
                    <a:lnTo>
                      <a:pt x="228" y="167"/>
                    </a:lnTo>
                    <a:lnTo>
                      <a:pt x="230" y="167"/>
                    </a:lnTo>
                    <a:lnTo>
                      <a:pt x="230" y="166"/>
                    </a:lnTo>
                    <a:lnTo>
                      <a:pt x="230" y="165"/>
                    </a:lnTo>
                    <a:lnTo>
                      <a:pt x="230" y="164"/>
                    </a:lnTo>
                    <a:lnTo>
                      <a:pt x="232" y="162"/>
                    </a:lnTo>
                    <a:lnTo>
                      <a:pt x="233" y="161"/>
                    </a:lnTo>
                    <a:lnTo>
                      <a:pt x="234" y="159"/>
                    </a:lnTo>
                    <a:lnTo>
                      <a:pt x="235" y="158"/>
                    </a:lnTo>
                    <a:lnTo>
                      <a:pt x="235" y="156"/>
                    </a:lnTo>
                    <a:lnTo>
                      <a:pt x="236" y="155"/>
                    </a:lnTo>
                    <a:lnTo>
                      <a:pt x="236" y="154"/>
                    </a:lnTo>
                    <a:lnTo>
                      <a:pt x="236" y="152"/>
                    </a:lnTo>
                    <a:lnTo>
                      <a:pt x="235" y="150"/>
                    </a:lnTo>
                    <a:lnTo>
                      <a:pt x="234" y="150"/>
                    </a:lnTo>
                    <a:lnTo>
                      <a:pt x="233" y="150"/>
                    </a:lnTo>
                    <a:lnTo>
                      <a:pt x="232" y="150"/>
                    </a:lnTo>
                    <a:lnTo>
                      <a:pt x="230" y="149"/>
                    </a:lnTo>
                    <a:lnTo>
                      <a:pt x="229" y="149"/>
                    </a:lnTo>
                    <a:lnTo>
                      <a:pt x="229" y="150"/>
                    </a:lnTo>
                    <a:lnTo>
                      <a:pt x="228" y="150"/>
                    </a:lnTo>
                    <a:lnTo>
                      <a:pt x="228" y="149"/>
                    </a:lnTo>
                    <a:lnTo>
                      <a:pt x="227" y="149"/>
                    </a:lnTo>
                    <a:lnTo>
                      <a:pt x="224" y="147"/>
                    </a:lnTo>
                    <a:lnTo>
                      <a:pt x="224" y="146"/>
                    </a:lnTo>
                    <a:lnTo>
                      <a:pt x="224" y="144"/>
                    </a:lnTo>
                    <a:lnTo>
                      <a:pt x="226" y="143"/>
                    </a:lnTo>
                    <a:lnTo>
                      <a:pt x="226" y="142"/>
                    </a:lnTo>
                    <a:lnTo>
                      <a:pt x="227" y="141"/>
                    </a:lnTo>
                    <a:lnTo>
                      <a:pt x="227" y="140"/>
                    </a:lnTo>
                    <a:lnTo>
                      <a:pt x="228" y="138"/>
                    </a:lnTo>
                    <a:lnTo>
                      <a:pt x="228" y="137"/>
                    </a:lnTo>
                    <a:lnTo>
                      <a:pt x="228" y="136"/>
                    </a:lnTo>
                    <a:lnTo>
                      <a:pt x="228" y="135"/>
                    </a:lnTo>
                    <a:lnTo>
                      <a:pt x="229" y="135"/>
                    </a:lnTo>
                    <a:lnTo>
                      <a:pt x="230" y="134"/>
                    </a:lnTo>
                    <a:lnTo>
                      <a:pt x="230" y="132"/>
                    </a:lnTo>
                    <a:lnTo>
                      <a:pt x="232" y="132"/>
                    </a:lnTo>
                    <a:lnTo>
                      <a:pt x="232" y="131"/>
                    </a:lnTo>
                    <a:lnTo>
                      <a:pt x="232" y="130"/>
                    </a:lnTo>
                    <a:lnTo>
                      <a:pt x="232" y="129"/>
                    </a:lnTo>
                    <a:lnTo>
                      <a:pt x="232" y="128"/>
                    </a:lnTo>
                    <a:lnTo>
                      <a:pt x="232" y="126"/>
                    </a:lnTo>
                    <a:lnTo>
                      <a:pt x="233" y="126"/>
                    </a:lnTo>
                    <a:lnTo>
                      <a:pt x="233" y="125"/>
                    </a:lnTo>
                    <a:lnTo>
                      <a:pt x="234" y="125"/>
                    </a:lnTo>
                    <a:lnTo>
                      <a:pt x="234" y="124"/>
                    </a:lnTo>
                    <a:lnTo>
                      <a:pt x="235" y="124"/>
                    </a:lnTo>
                    <a:lnTo>
                      <a:pt x="235" y="123"/>
                    </a:lnTo>
                    <a:lnTo>
                      <a:pt x="235" y="122"/>
                    </a:lnTo>
                    <a:lnTo>
                      <a:pt x="236" y="122"/>
                    </a:lnTo>
                    <a:lnTo>
                      <a:pt x="236" y="120"/>
                    </a:lnTo>
                    <a:lnTo>
                      <a:pt x="238" y="120"/>
                    </a:lnTo>
                    <a:lnTo>
                      <a:pt x="238" y="119"/>
                    </a:lnTo>
                    <a:lnTo>
                      <a:pt x="239" y="119"/>
                    </a:lnTo>
                    <a:lnTo>
                      <a:pt x="241" y="119"/>
                    </a:lnTo>
                    <a:lnTo>
                      <a:pt x="242" y="118"/>
                    </a:lnTo>
                    <a:lnTo>
                      <a:pt x="244" y="118"/>
                    </a:lnTo>
                    <a:lnTo>
                      <a:pt x="245" y="118"/>
                    </a:lnTo>
                    <a:lnTo>
                      <a:pt x="246" y="118"/>
                    </a:lnTo>
                    <a:lnTo>
                      <a:pt x="247" y="118"/>
                    </a:lnTo>
                    <a:lnTo>
                      <a:pt x="247" y="117"/>
                    </a:lnTo>
                    <a:lnTo>
                      <a:pt x="248" y="117"/>
                    </a:lnTo>
                    <a:lnTo>
                      <a:pt x="250" y="117"/>
                    </a:lnTo>
                    <a:lnTo>
                      <a:pt x="250" y="118"/>
                    </a:lnTo>
                    <a:lnTo>
                      <a:pt x="251" y="118"/>
                    </a:lnTo>
                    <a:lnTo>
                      <a:pt x="251" y="117"/>
                    </a:lnTo>
                    <a:lnTo>
                      <a:pt x="250" y="117"/>
                    </a:lnTo>
                    <a:lnTo>
                      <a:pt x="250" y="116"/>
                    </a:lnTo>
                    <a:lnTo>
                      <a:pt x="250" y="114"/>
                    </a:lnTo>
                    <a:lnTo>
                      <a:pt x="248" y="111"/>
                    </a:lnTo>
                    <a:lnTo>
                      <a:pt x="248" y="106"/>
                    </a:lnTo>
                    <a:lnTo>
                      <a:pt x="247" y="100"/>
                    </a:lnTo>
                    <a:lnTo>
                      <a:pt x="246" y="98"/>
                    </a:lnTo>
                    <a:lnTo>
                      <a:pt x="244" y="93"/>
                    </a:lnTo>
                    <a:lnTo>
                      <a:pt x="241" y="93"/>
                    </a:lnTo>
                    <a:lnTo>
                      <a:pt x="239" y="94"/>
                    </a:lnTo>
                    <a:lnTo>
                      <a:pt x="238" y="95"/>
                    </a:lnTo>
                    <a:lnTo>
                      <a:pt x="236" y="95"/>
                    </a:lnTo>
                    <a:lnTo>
                      <a:pt x="236" y="96"/>
                    </a:lnTo>
                    <a:lnTo>
                      <a:pt x="235" y="98"/>
                    </a:lnTo>
                    <a:lnTo>
                      <a:pt x="234" y="98"/>
                    </a:lnTo>
                    <a:lnTo>
                      <a:pt x="233" y="99"/>
                    </a:lnTo>
                    <a:lnTo>
                      <a:pt x="232" y="100"/>
                    </a:lnTo>
                    <a:lnTo>
                      <a:pt x="230" y="100"/>
                    </a:lnTo>
                    <a:lnTo>
                      <a:pt x="228" y="100"/>
                    </a:lnTo>
                    <a:lnTo>
                      <a:pt x="224" y="101"/>
                    </a:lnTo>
                    <a:lnTo>
                      <a:pt x="223" y="101"/>
                    </a:lnTo>
                    <a:lnTo>
                      <a:pt x="222" y="102"/>
                    </a:lnTo>
                    <a:lnTo>
                      <a:pt x="221" y="102"/>
                    </a:lnTo>
                    <a:lnTo>
                      <a:pt x="220" y="102"/>
                    </a:lnTo>
                    <a:lnTo>
                      <a:pt x="218" y="102"/>
                    </a:lnTo>
                    <a:lnTo>
                      <a:pt x="218" y="104"/>
                    </a:lnTo>
                    <a:lnTo>
                      <a:pt x="217" y="104"/>
                    </a:lnTo>
                    <a:lnTo>
                      <a:pt x="216" y="104"/>
                    </a:lnTo>
                    <a:lnTo>
                      <a:pt x="215" y="105"/>
                    </a:lnTo>
                    <a:lnTo>
                      <a:pt x="214" y="105"/>
                    </a:lnTo>
                    <a:lnTo>
                      <a:pt x="214" y="106"/>
                    </a:lnTo>
                    <a:lnTo>
                      <a:pt x="212" y="106"/>
                    </a:lnTo>
                    <a:lnTo>
                      <a:pt x="211" y="107"/>
                    </a:lnTo>
                    <a:lnTo>
                      <a:pt x="210" y="107"/>
                    </a:lnTo>
                    <a:lnTo>
                      <a:pt x="210" y="108"/>
                    </a:lnTo>
                    <a:lnTo>
                      <a:pt x="209" y="110"/>
                    </a:lnTo>
                    <a:lnTo>
                      <a:pt x="208" y="110"/>
                    </a:lnTo>
                    <a:lnTo>
                      <a:pt x="208" y="108"/>
                    </a:lnTo>
                    <a:lnTo>
                      <a:pt x="206" y="108"/>
                    </a:lnTo>
                    <a:lnTo>
                      <a:pt x="205" y="108"/>
                    </a:lnTo>
                    <a:lnTo>
                      <a:pt x="204" y="108"/>
                    </a:lnTo>
                    <a:lnTo>
                      <a:pt x="203" y="110"/>
                    </a:lnTo>
                    <a:lnTo>
                      <a:pt x="202" y="110"/>
                    </a:lnTo>
                    <a:lnTo>
                      <a:pt x="200" y="110"/>
                    </a:lnTo>
                    <a:lnTo>
                      <a:pt x="200" y="108"/>
                    </a:lnTo>
                    <a:lnTo>
                      <a:pt x="200" y="107"/>
                    </a:lnTo>
                    <a:lnTo>
                      <a:pt x="200" y="106"/>
                    </a:lnTo>
                    <a:lnTo>
                      <a:pt x="200" y="105"/>
                    </a:lnTo>
                    <a:lnTo>
                      <a:pt x="200" y="104"/>
                    </a:lnTo>
                    <a:lnTo>
                      <a:pt x="202" y="102"/>
                    </a:lnTo>
                    <a:lnTo>
                      <a:pt x="202" y="101"/>
                    </a:lnTo>
                    <a:lnTo>
                      <a:pt x="202" y="100"/>
                    </a:lnTo>
                    <a:lnTo>
                      <a:pt x="202" y="99"/>
                    </a:lnTo>
                    <a:lnTo>
                      <a:pt x="200" y="99"/>
                    </a:lnTo>
                    <a:lnTo>
                      <a:pt x="200" y="98"/>
                    </a:lnTo>
                    <a:lnTo>
                      <a:pt x="200" y="96"/>
                    </a:lnTo>
                    <a:lnTo>
                      <a:pt x="200" y="95"/>
                    </a:lnTo>
                    <a:lnTo>
                      <a:pt x="202" y="95"/>
                    </a:lnTo>
                    <a:lnTo>
                      <a:pt x="202" y="94"/>
                    </a:lnTo>
                    <a:lnTo>
                      <a:pt x="202" y="93"/>
                    </a:lnTo>
                    <a:lnTo>
                      <a:pt x="203" y="92"/>
                    </a:lnTo>
                    <a:lnTo>
                      <a:pt x="204" y="90"/>
                    </a:lnTo>
                    <a:lnTo>
                      <a:pt x="205" y="89"/>
                    </a:lnTo>
                    <a:lnTo>
                      <a:pt x="205" y="88"/>
                    </a:lnTo>
                    <a:lnTo>
                      <a:pt x="205" y="89"/>
                    </a:lnTo>
                    <a:lnTo>
                      <a:pt x="205" y="88"/>
                    </a:lnTo>
                    <a:lnTo>
                      <a:pt x="206" y="88"/>
                    </a:lnTo>
                    <a:lnTo>
                      <a:pt x="206" y="86"/>
                    </a:lnTo>
                    <a:lnTo>
                      <a:pt x="208" y="86"/>
                    </a:lnTo>
                    <a:lnTo>
                      <a:pt x="208" y="84"/>
                    </a:lnTo>
                    <a:lnTo>
                      <a:pt x="208" y="83"/>
                    </a:lnTo>
                    <a:lnTo>
                      <a:pt x="209" y="83"/>
                    </a:lnTo>
                    <a:lnTo>
                      <a:pt x="209" y="82"/>
                    </a:lnTo>
                    <a:lnTo>
                      <a:pt x="209" y="81"/>
                    </a:lnTo>
                    <a:lnTo>
                      <a:pt x="209" y="80"/>
                    </a:lnTo>
                    <a:lnTo>
                      <a:pt x="209" y="78"/>
                    </a:lnTo>
                    <a:lnTo>
                      <a:pt x="209" y="77"/>
                    </a:lnTo>
                    <a:lnTo>
                      <a:pt x="209" y="76"/>
                    </a:lnTo>
                    <a:lnTo>
                      <a:pt x="210" y="75"/>
                    </a:lnTo>
                    <a:lnTo>
                      <a:pt x="210" y="74"/>
                    </a:lnTo>
                    <a:lnTo>
                      <a:pt x="210" y="72"/>
                    </a:lnTo>
                    <a:lnTo>
                      <a:pt x="210" y="71"/>
                    </a:lnTo>
                    <a:lnTo>
                      <a:pt x="211" y="70"/>
                    </a:lnTo>
                    <a:lnTo>
                      <a:pt x="211" y="69"/>
                    </a:lnTo>
                    <a:lnTo>
                      <a:pt x="211" y="68"/>
                    </a:lnTo>
                    <a:lnTo>
                      <a:pt x="211" y="66"/>
                    </a:lnTo>
                    <a:lnTo>
                      <a:pt x="211" y="65"/>
                    </a:lnTo>
                    <a:lnTo>
                      <a:pt x="211" y="64"/>
                    </a:lnTo>
                    <a:lnTo>
                      <a:pt x="210" y="63"/>
                    </a:lnTo>
                    <a:lnTo>
                      <a:pt x="210" y="62"/>
                    </a:lnTo>
                    <a:lnTo>
                      <a:pt x="208" y="62"/>
                    </a:lnTo>
                    <a:lnTo>
                      <a:pt x="206" y="62"/>
                    </a:lnTo>
                    <a:lnTo>
                      <a:pt x="205" y="60"/>
                    </a:lnTo>
                    <a:lnTo>
                      <a:pt x="204" y="62"/>
                    </a:lnTo>
                    <a:lnTo>
                      <a:pt x="203" y="62"/>
                    </a:lnTo>
                    <a:lnTo>
                      <a:pt x="203" y="60"/>
                    </a:lnTo>
                    <a:lnTo>
                      <a:pt x="203" y="59"/>
                    </a:lnTo>
                    <a:lnTo>
                      <a:pt x="203" y="58"/>
                    </a:lnTo>
                    <a:lnTo>
                      <a:pt x="204" y="57"/>
                    </a:lnTo>
                    <a:lnTo>
                      <a:pt x="204" y="56"/>
                    </a:lnTo>
                    <a:lnTo>
                      <a:pt x="206" y="54"/>
                    </a:lnTo>
                    <a:lnTo>
                      <a:pt x="208" y="53"/>
                    </a:lnTo>
                    <a:lnTo>
                      <a:pt x="208" y="51"/>
                    </a:lnTo>
                    <a:lnTo>
                      <a:pt x="208" y="50"/>
                    </a:lnTo>
                    <a:lnTo>
                      <a:pt x="208" y="48"/>
                    </a:lnTo>
                    <a:lnTo>
                      <a:pt x="206" y="46"/>
                    </a:lnTo>
                    <a:lnTo>
                      <a:pt x="206" y="45"/>
                    </a:lnTo>
                    <a:lnTo>
                      <a:pt x="205" y="45"/>
                    </a:lnTo>
                    <a:lnTo>
                      <a:pt x="204" y="42"/>
                    </a:lnTo>
                    <a:lnTo>
                      <a:pt x="202" y="44"/>
                    </a:lnTo>
                    <a:lnTo>
                      <a:pt x="200" y="44"/>
                    </a:lnTo>
                    <a:lnTo>
                      <a:pt x="199" y="44"/>
                    </a:lnTo>
                    <a:lnTo>
                      <a:pt x="198" y="44"/>
                    </a:lnTo>
                    <a:lnTo>
                      <a:pt x="197" y="42"/>
                    </a:lnTo>
                    <a:lnTo>
                      <a:pt x="197" y="41"/>
                    </a:lnTo>
                    <a:lnTo>
                      <a:pt x="197" y="40"/>
                    </a:lnTo>
                    <a:lnTo>
                      <a:pt x="196" y="40"/>
                    </a:lnTo>
                    <a:lnTo>
                      <a:pt x="196" y="39"/>
                    </a:lnTo>
                    <a:lnTo>
                      <a:pt x="196" y="38"/>
                    </a:lnTo>
                    <a:lnTo>
                      <a:pt x="196" y="36"/>
                    </a:lnTo>
                    <a:lnTo>
                      <a:pt x="196" y="35"/>
                    </a:lnTo>
                    <a:lnTo>
                      <a:pt x="196" y="34"/>
                    </a:lnTo>
                    <a:lnTo>
                      <a:pt x="196" y="33"/>
                    </a:lnTo>
                    <a:lnTo>
                      <a:pt x="194" y="33"/>
                    </a:lnTo>
                    <a:lnTo>
                      <a:pt x="196" y="32"/>
                    </a:lnTo>
                    <a:lnTo>
                      <a:pt x="196" y="30"/>
                    </a:lnTo>
                    <a:lnTo>
                      <a:pt x="197" y="30"/>
                    </a:lnTo>
                    <a:lnTo>
                      <a:pt x="197" y="29"/>
                    </a:lnTo>
                    <a:lnTo>
                      <a:pt x="197" y="28"/>
                    </a:lnTo>
                    <a:lnTo>
                      <a:pt x="196" y="28"/>
                    </a:lnTo>
                    <a:lnTo>
                      <a:pt x="197" y="28"/>
                    </a:lnTo>
                    <a:lnTo>
                      <a:pt x="197" y="27"/>
                    </a:lnTo>
                    <a:lnTo>
                      <a:pt x="197" y="26"/>
                    </a:lnTo>
                    <a:lnTo>
                      <a:pt x="197" y="24"/>
                    </a:lnTo>
                    <a:lnTo>
                      <a:pt x="197" y="23"/>
                    </a:lnTo>
                    <a:lnTo>
                      <a:pt x="197" y="24"/>
                    </a:lnTo>
                    <a:lnTo>
                      <a:pt x="197" y="23"/>
                    </a:lnTo>
                    <a:lnTo>
                      <a:pt x="196" y="22"/>
                    </a:lnTo>
                    <a:lnTo>
                      <a:pt x="194" y="20"/>
                    </a:lnTo>
                    <a:lnTo>
                      <a:pt x="194" y="18"/>
                    </a:lnTo>
                    <a:lnTo>
                      <a:pt x="194" y="17"/>
                    </a:lnTo>
                    <a:lnTo>
                      <a:pt x="196" y="16"/>
                    </a:lnTo>
                    <a:lnTo>
                      <a:pt x="197" y="15"/>
                    </a:lnTo>
                    <a:lnTo>
                      <a:pt x="197" y="14"/>
                    </a:lnTo>
                    <a:lnTo>
                      <a:pt x="198" y="12"/>
                    </a:lnTo>
                    <a:lnTo>
                      <a:pt x="197" y="10"/>
                    </a:lnTo>
                    <a:lnTo>
                      <a:pt x="196" y="10"/>
                    </a:lnTo>
                    <a:lnTo>
                      <a:pt x="194" y="9"/>
                    </a:lnTo>
                    <a:lnTo>
                      <a:pt x="192" y="9"/>
                    </a:lnTo>
                    <a:lnTo>
                      <a:pt x="192" y="8"/>
                    </a:lnTo>
                    <a:lnTo>
                      <a:pt x="191" y="6"/>
                    </a:lnTo>
                    <a:lnTo>
                      <a:pt x="191" y="5"/>
                    </a:lnTo>
                    <a:lnTo>
                      <a:pt x="190" y="4"/>
                    </a:lnTo>
                    <a:lnTo>
                      <a:pt x="188" y="4"/>
                    </a:lnTo>
                    <a:lnTo>
                      <a:pt x="186" y="5"/>
                    </a:lnTo>
                    <a:lnTo>
                      <a:pt x="185" y="5"/>
                    </a:lnTo>
                    <a:lnTo>
                      <a:pt x="185" y="6"/>
                    </a:lnTo>
                    <a:lnTo>
                      <a:pt x="184" y="6"/>
                    </a:lnTo>
                    <a:lnTo>
                      <a:pt x="182" y="6"/>
                    </a:lnTo>
                    <a:lnTo>
                      <a:pt x="181" y="5"/>
                    </a:lnTo>
                    <a:lnTo>
                      <a:pt x="180" y="6"/>
                    </a:lnTo>
                    <a:lnTo>
                      <a:pt x="179" y="5"/>
                    </a:lnTo>
                    <a:lnTo>
                      <a:pt x="178" y="5"/>
                    </a:lnTo>
                    <a:lnTo>
                      <a:pt x="178" y="6"/>
                    </a:lnTo>
                    <a:lnTo>
                      <a:pt x="176" y="8"/>
                    </a:lnTo>
                    <a:lnTo>
                      <a:pt x="176" y="9"/>
                    </a:lnTo>
                    <a:lnTo>
                      <a:pt x="175" y="10"/>
                    </a:lnTo>
                    <a:lnTo>
                      <a:pt x="174" y="10"/>
                    </a:lnTo>
                    <a:lnTo>
                      <a:pt x="172" y="11"/>
                    </a:lnTo>
                    <a:lnTo>
                      <a:pt x="172" y="12"/>
                    </a:lnTo>
                    <a:lnTo>
                      <a:pt x="170" y="11"/>
                    </a:lnTo>
                    <a:lnTo>
                      <a:pt x="170" y="9"/>
                    </a:lnTo>
                    <a:lnTo>
                      <a:pt x="170" y="6"/>
                    </a:lnTo>
                    <a:lnTo>
                      <a:pt x="169" y="8"/>
                    </a:lnTo>
                    <a:lnTo>
                      <a:pt x="168" y="8"/>
                    </a:lnTo>
                    <a:lnTo>
                      <a:pt x="167" y="6"/>
                    </a:lnTo>
                    <a:lnTo>
                      <a:pt x="167" y="5"/>
                    </a:lnTo>
                    <a:lnTo>
                      <a:pt x="166" y="5"/>
                    </a:lnTo>
                    <a:lnTo>
                      <a:pt x="164" y="5"/>
                    </a:lnTo>
                    <a:lnTo>
                      <a:pt x="164" y="6"/>
                    </a:lnTo>
                    <a:lnTo>
                      <a:pt x="162" y="8"/>
                    </a:lnTo>
                    <a:lnTo>
                      <a:pt x="161" y="8"/>
                    </a:lnTo>
                    <a:lnTo>
                      <a:pt x="160" y="8"/>
                    </a:lnTo>
                    <a:lnTo>
                      <a:pt x="158" y="6"/>
                    </a:lnTo>
                    <a:lnTo>
                      <a:pt x="158" y="5"/>
                    </a:lnTo>
                    <a:lnTo>
                      <a:pt x="158" y="3"/>
                    </a:lnTo>
                    <a:lnTo>
                      <a:pt x="157" y="2"/>
                    </a:lnTo>
                    <a:lnTo>
                      <a:pt x="156" y="2"/>
                    </a:lnTo>
                    <a:lnTo>
                      <a:pt x="155" y="2"/>
                    </a:lnTo>
                    <a:lnTo>
                      <a:pt x="154" y="2"/>
                    </a:lnTo>
                    <a:lnTo>
                      <a:pt x="152" y="2"/>
                    </a:lnTo>
                    <a:lnTo>
                      <a:pt x="151" y="0"/>
                    </a:lnTo>
                    <a:lnTo>
                      <a:pt x="150" y="0"/>
                    </a:lnTo>
                    <a:lnTo>
                      <a:pt x="149" y="3"/>
                    </a:lnTo>
                    <a:lnTo>
                      <a:pt x="149" y="4"/>
                    </a:lnTo>
                    <a:lnTo>
                      <a:pt x="148" y="5"/>
                    </a:lnTo>
                    <a:lnTo>
                      <a:pt x="146" y="5"/>
                    </a:lnTo>
                    <a:lnTo>
                      <a:pt x="146" y="6"/>
                    </a:lnTo>
                    <a:lnTo>
                      <a:pt x="145" y="6"/>
                    </a:lnTo>
                    <a:lnTo>
                      <a:pt x="145" y="8"/>
                    </a:lnTo>
                    <a:lnTo>
                      <a:pt x="145" y="9"/>
                    </a:lnTo>
                    <a:lnTo>
                      <a:pt x="145" y="10"/>
                    </a:lnTo>
                    <a:lnTo>
                      <a:pt x="145" y="11"/>
                    </a:lnTo>
                    <a:lnTo>
                      <a:pt x="145" y="12"/>
                    </a:lnTo>
                    <a:lnTo>
                      <a:pt x="145" y="14"/>
                    </a:lnTo>
                    <a:lnTo>
                      <a:pt x="144" y="14"/>
                    </a:lnTo>
                    <a:lnTo>
                      <a:pt x="144" y="15"/>
                    </a:lnTo>
                    <a:lnTo>
                      <a:pt x="143" y="15"/>
                    </a:lnTo>
                    <a:lnTo>
                      <a:pt x="142" y="15"/>
                    </a:lnTo>
                    <a:lnTo>
                      <a:pt x="140" y="15"/>
                    </a:lnTo>
                    <a:lnTo>
                      <a:pt x="139" y="15"/>
                    </a:lnTo>
                    <a:lnTo>
                      <a:pt x="138" y="15"/>
                    </a:lnTo>
                    <a:lnTo>
                      <a:pt x="138" y="16"/>
                    </a:lnTo>
                    <a:lnTo>
                      <a:pt x="137" y="16"/>
                    </a:lnTo>
                    <a:lnTo>
                      <a:pt x="136" y="16"/>
                    </a:lnTo>
                    <a:lnTo>
                      <a:pt x="136" y="17"/>
                    </a:lnTo>
                    <a:lnTo>
                      <a:pt x="136" y="18"/>
                    </a:lnTo>
                    <a:lnTo>
                      <a:pt x="136" y="20"/>
                    </a:lnTo>
                    <a:lnTo>
                      <a:pt x="136" y="21"/>
                    </a:lnTo>
                    <a:lnTo>
                      <a:pt x="137" y="22"/>
                    </a:lnTo>
                    <a:lnTo>
                      <a:pt x="137" y="23"/>
                    </a:lnTo>
                    <a:lnTo>
                      <a:pt x="137" y="24"/>
                    </a:lnTo>
                    <a:lnTo>
                      <a:pt x="137" y="26"/>
                    </a:lnTo>
                    <a:lnTo>
                      <a:pt x="137" y="27"/>
                    </a:lnTo>
                    <a:lnTo>
                      <a:pt x="136" y="27"/>
                    </a:lnTo>
                    <a:lnTo>
                      <a:pt x="136" y="28"/>
                    </a:lnTo>
                    <a:lnTo>
                      <a:pt x="136" y="29"/>
                    </a:lnTo>
                    <a:lnTo>
                      <a:pt x="134" y="29"/>
                    </a:lnTo>
                    <a:lnTo>
                      <a:pt x="133" y="29"/>
                    </a:lnTo>
                    <a:lnTo>
                      <a:pt x="133" y="30"/>
                    </a:lnTo>
                    <a:lnTo>
                      <a:pt x="132" y="30"/>
                    </a:lnTo>
                    <a:lnTo>
                      <a:pt x="132" y="32"/>
                    </a:lnTo>
                    <a:lnTo>
                      <a:pt x="131" y="33"/>
                    </a:lnTo>
                    <a:lnTo>
                      <a:pt x="131" y="34"/>
                    </a:lnTo>
                    <a:lnTo>
                      <a:pt x="130" y="34"/>
                    </a:lnTo>
                    <a:lnTo>
                      <a:pt x="130" y="35"/>
                    </a:lnTo>
                    <a:lnTo>
                      <a:pt x="128" y="35"/>
                    </a:lnTo>
                    <a:lnTo>
                      <a:pt x="128" y="36"/>
                    </a:lnTo>
                    <a:lnTo>
                      <a:pt x="128" y="38"/>
                    </a:lnTo>
                    <a:lnTo>
                      <a:pt x="128" y="39"/>
                    </a:lnTo>
                    <a:lnTo>
                      <a:pt x="130" y="39"/>
                    </a:lnTo>
                    <a:lnTo>
                      <a:pt x="130" y="40"/>
                    </a:lnTo>
                    <a:lnTo>
                      <a:pt x="131" y="41"/>
                    </a:lnTo>
                    <a:lnTo>
                      <a:pt x="131" y="42"/>
                    </a:lnTo>
                    <a:lnTo>
                      <a:pt x="131" y="44"/>
                    </a:lnTo>
                    <a:lnTo>
                      <a:pt x="131" y="45"/>
                    </a:lnTo>
                    <a:lnTo>
                      <a:pt x="131" y="46"/>
                    </a:lnTo>
                    <a:lnTo>
                      <a:pt x="131" y="47"/>
                    </a:lnTo>
                    <a:lnTo>
                      <a:pt x="131" y="48"/>
                    </a:lnTo>
                    <a:lnTo>
                      <a:pt x="132" y="48"/>
                    </a:lnTo>
                    <a:lnTo>
                      <a:pt x="132" y="50"/>
                    </a:lnTo>
                    <a:lnTo>
                      <a:pt x="131" y="50"/>
                    </a:lnTo>
                    <a:lnTo>
                      <a:pt x="131" y="51"/>
                    </a:lnTo>
                    <a:lnTo>
                      <a:pt x="130" y="51"/>
                    </a:lnTo>
                    <a:lnTo>
                      <a:pt x="128" y="52"/>
                    </a:lnTo>
                    <a:lnTo>
                      <a:pt x="127" y="52"/>
                    </a:lnTo>
                    <a:lnTo>
                      <a:pt x="126" y="53"/>
                    </a:lnTo>
                    <a:lnTo>
                      <a:pt x="125" y="53"/>
                    </a:lnTo>
                    <a:lnTo>
                      <a:pt x="125" y="54"/>
                    </a:lnTo>
                    <a:lnTo>
                      <a:pt x="124" y="54"/>
                    </a:lnTo>
                    <a:lnTo>
                      <a:pt x="122" y="54"/>
                    </a:lnTo>
                    <a:lnTo>
                      <a:pt x="120" y="54"/>
                    </a:lnTo>
                    <a:lnTo>
                      <a:pt x="118" y="53"/>
                    </a:lnTo>
                    <a:lnTo>
                      <a:pt x="119" y="52"/>
                    </a:lnTo>
                    <a:lnTo>
                      <a:pt x="119" y="51"/>
                    </a:lnTo>
                    <a:lnTo>
                      <a:pt x="119" y="48"/>
                    </a:lnTo>
                    <a:lnTo>
                      <a:pt x="118" y="47"/>
                    </a:lnTo>
                    <a:lnTo>
                      <a:pt x="118" y="46"/>
                    </a:lnTo>
                    <a:lnTo>
                      <a:pt x="116" y="44"/>
                    </a:lnTo>
                    <a:lnTo>
                      <a:pt x="116" y="42"/>
                    </a:lnTo>
                    <a:lnTo>
                      <a:pt x="116" y="41"/>
                    </a:lnTo>
                    <a:lnTo>
                      <a:pt x="116" y="40"/>
                    </a:lnTo>
                    <a:lnTo>
                      <a:pt x="115" y="40"/>
                    </a:lnTo>
                    <a:lnTo>
                      <a:pt x="115" y="39"/>
                    </a:lnTo>
                    <a:lnTo>
                      <a:pt x="115" y="38"/>
                    </a:lnTo>
                    <a:lnTo>
                      <a:pt x="114" y="38"/>
                    </a:lnTo>
                    <a:lnTo>
                      <a:pt x="113" y="36"/>
                    </a:lnTo>
                    <a:lnTo>
                      <a:pt x="112" y="35"/>
                    </a:lnTo>
                    <a:lnTo>
                      <a:pt x="110" y="35"/>
                    </a:lnTo>
                    <a:lnTo>
                      <a:pt x="109" y="34"/>
                    </a:lnTo>
                    <a:lnTo>
                      <a:pt x="108" y="33"/>
                    </a:lnTo>
                    <a:lnTo>
                      <a:pt x="107" y="34"/>
                    </a:lnTo>
                    <a:lnTo>
                      <a:pt x="106" y="34"/>
                    </a:lnTo>
                    <a:lnTo>
                      <a:pt x="104" y="34"/>
                    </a:lnTo>
                    <a:lnTo>
                      <a:pt x="104" y="35"/>
                    </a:lnTo>
                    <a:lnTo>
                      <a:pt x="103" y="36"/>
                    </a:lnTo>
                    <a:lnTo>
                      <a:pt x="103" y="38"/>
                    </a:lnTo>
                    <a:lnTo>
                      <a:pt x="102" y="38"/>
                    </a:lnTo>
                    <a:lnTo>
                      <a:pt x="101" y="39"/>
                    </a:lnTo>
                    <a:lnTo>
                      <a:pt x="100" y="39"/>
                    </a:lnTo>
                    <a:lnTo>
                      <a:pt x="98" y="39"/>
                    </a:lnTo>
                    <a:lnTo>
                      <a:pt x="98" y="40"/>
                    </a:lnTo>
                    <a:lnTo>
                      <a:pt x="97" y="40"/>
                    </a:lnTo>
                    <a:lnTo>
                      <a:pt x="96" y="41"/>
                    </a:lnTo>
                    <a:lnTo>
                      <a:pt x="95" y="42"/>
                    </a:lnTo>
                    <a:lnTo>
                      <a:pt x="91" y="44"/>
                    </a:lnTo>
                    <a:lnTo>
                      <a:pt x="90" y="44"/>
                    </a:lnTo>
                    <a:lnTo>
                      <a:pt x="89" y="44"/>
                    </a:lnTo>
                    <a:lnTo>
                      <a:pt x="89" y="42"/>
                    </a:lnTo>
                    <a:lnTo>
                      <a:pt x="88" y="42"/>
                    </a:lnTo>
                    <a:lnTo>
                      <a:pt x="88" y="41"/>
                    </a:lnTo>
                    <a:lnTo>
                      <a:pt x="85" y="40"/>
                    </a:lnTo>
                    <a:lnTo>
                      <a:pt x="85" y="41"/>
                    </a:lnTo>
                    <a:lnTo>
                      <a:pt x="86" y="42"/>
                    </a:lnTo>
                    <a:lnTo>
                      <a:pt x="86" y="44"/>
                    </a:lnTo>
                    <a:lnTo>
                      <a:pt x="88" y="44"/>
                    </a:lnTo>
                    <a:lnTo>
                      <a:pt x="88" y="45"/>
                    </a:lnTo>
                    <a:lnTo>
                      <a:pt x="88" y="46"/>
                    </a:lnTo>
                    <a:lnTo>
                      <a:pt x="88" y="47"/>
                    </a:lnTo>
                    <a:lnTo>
                      <a:pt x="88" y="48"/>
                    </a:lnTo>
                    <a:lnTo>
                      <a:pt x="85" y="53"/>
                    </a:lnTo>
                    <a:lnTo>
                      <a:pt x="85" y="54"/>
                    </a:lnTo>
                    <a:lnTo>
                      <a:pt x="85" y="53"/>
                    </a:lnTo>
                    <a:lnTo>
                      <a:pt x="85" y="54"/>
                    </a:lnTo>
                    <a:lnTo>
                      <a:pt x="85" y="56"/>
                    </a:lnTo>
                    <a:lnTo>
                      <a:pt x="86" y="57"/>
                    </a:lnTo>
                    <a:lnTo>
                      <a:pt x="85" y="58"/>
                    </a:lnTo>
                    <a:lnTo>
                      <a:pt x="85" y="59"/>
                    </a:lnTo>
                    <a:lnTo>
                      <a:pt x="85" y="60"/>
                    </a:lnTo>
                    <a:lnTo>
                      <a:pt x="84" y="62"/>
                    </a:lnTo>
                    <a:lnTo>
                      <a:pt x="84" y="63"/>
                    </a:lnTo>
                    <a:lnTo>
                      <a:pt x="83" y="63"/>
                    </a:lnTo>
                    <a:lnTo>
                      <a:pt x="83" y="64"/>
                    </a:lnTo>
                    <a:lnTo>
                      <a:pt x="83" y="65"/>
                    </a:lnTo>
                    <a:lnTo>
                      <a:pt x="83" y="66"/>
                    </a:lnTo>
                    <a:lnTo>
                      <a:pt x="82" y="66"/>
                    </a:lnTo>
                    <a:lnTo>
                      <a:pt x="83" y="68"/>
                    </a:lnTo>
                    <a:lnTo>
                      <a:pt x="83" y="69"/>
                    </a:lnTo>
                    <a:lnTo>
                      <a:pt x="83" y="70"/>
                    </a:lnTo>
                    <a:lnTo>
                      <a:pt x="83" y="71"/>
                    </a:lnTo>
                    <a:lnTo>
                      <a:pt x="83" y="72"/>
                    </a:lnTo>
                    <a:lnTo>
                      <a:pt x="83" y="74"/>
                    </a:lnTo>
                    <a:lnTo>
                      <a:pt x="82" y="74"/>
                    </a:lnTo>
                    <a:lnTo>
                      <a:pt x="83" y="74"/>
                    </a:lnTo>
                    <a:lnTo>
                      <a:pt x="82" y="75"/>
                    </a:lnTo>
                    <a:lnTo>
                      <a:pt x="82" y="76"/>
                    </a:lnTo>
                    <a:lnTo>
                      <a:pt x="83" y="77"/>
                    </a:lnTo>
                    <a:lnTo>
                      <a:pt x="83" y="78"/>
                    </a:lnTo>
                    <a:lnTo>
                      <a:pt x="83" y="80"/>
                    </a:lnTo>
                    <a:lnTo>
                      <a:pt x="82" y="80"/>
                    </a:lnTo>
                    <a:lnTo>
                      <a:pt x="82" y="81"/>
                    </a:lnTo>
                    <a:lnTo>
                      <a:pt x="80" y="82"/>
                    </a:lnTo>
                    <a:lnTo>
                      <a:pt x="80" y="83"/>
                    </a:lnTo>
                    <a:lnTo>
                      <a:pt x="80" y="84"/>
                    </a:lnTo>
                    <a:lnTo>
                      <a:pt x="79" y="84"/>
                    </a:lnTo>
                    <a:lnTo>
                      <a:pt x="78" y="84"/>
                    </a:lnTo>
                    <a:lnTo>
                      <a:pt x="77" y="86"/>
                    </a:lnTo>
                    <a:lnTo>
                      <a:pt x="76" y="86"/>
                    </a:lnTo>
                    <a:lnTo>
                      <a:pt x="74" y="84"/>
                    </a:lnTo>
                    <a:lnTo>
                      <a:pt x="73" y="84"/>
                    </a:lnTo>
                    <a:lnTo>
                      <a:pt x="73" y="83"/>
                    </a:lnTo>
                    <a:lnTo>
                      <a:pt x="73" y="82"/>
                    </a:lnTo>
                    <a:lnTo>
                      <a:pt x="72" y="82"/>
                    </a:lnTo>
                    <a:lnTo>
                      <a:pt x="71" y="83"/>
                    </a:lnTo>
                    <a:lnTo>
                      <a:pt x="70" y="84"/>
                    </a:lnTo>
                    <a:lnTo>
                      <a:pt x="70" y="86"/>
                    </a:lnTo>
                    <a:lnTo>
                      <a:pt x="68" y="87"/>
                    </a:lnTo>
                    <a:lnTo>
                      <a:pt x="68" y="88"/>
                    </a:lnTo>
                    <a:lnTo>
                      <a:pt x="68" y="89"/>
                    </a:lnTo>
                    <a:lnTo>
                      <a:pt x="67" y="92"/>
                    </a:lnTo>
                    <a:lnTo>
                      <a:pt x="62" y="94"/>
                    </a:lnTo>
                    <a:lnTo>
                      <a:pt x="60" y="95"/>
                    </a:lnTo>
                    <a:lnTo>
                      <a:pt x="56" y="96"/>
                    </a:lnTo>
                    <a:lnTo>
                      <a:pt x="55" y="96"/>
                    </a:lnTo>
                    <a:lnTo>
                      <a:pt x="54" y="96"/>
                    </a:lnTo>
                    <a:lnTo>
                      <a:pt x="52" y="95"/>
                    </a:lnTo>
                    <a:lnTo>
                      <a:pt x="48" y="94"/>
                    </a:lnTo>
                    <a:lnTo>
                      <a:pt x="44" y="90"/>
                    </a:lnTo>
                    <a:lnTo>
                      <a:pt x="41" y="87"/>
                    </a:lnTo>
                    <a:lnTo>
                      <a:pt x="38" y="83"/>
                    </a:lnTo>
                    <a:lnTo>
                      <a:pt x="35" y="83"/>
                    </a:lnTo>
                    <a:lnTo>
                      <a:pt x="23" y="72"/>
                    </a:lnTo>
                    <a:lnTo>
                      <a:pt x="20" y="75"/>
                    </a:lnTo>
                    <a:lnTo>
                      <a:pt x="20" y="77"/>
                    </a:lnTo>
                    <a:lnTo>
                      <a:pt x="19" y="78"/>
                    </a:lnTo>
                    <a:lnTo>
                      <a:pt x="19" y="81"/>
                    </a:lnTo>
                    <a:lnTo>
                      <a:pt x="20" y="82"/>
                    </a:lnTo>
                    <a:lnTo>
                      <a:pt x="22" y="84"/>
                    </a:lnTo>
                    <a:lnTo>
                      <a:pt x="22" y="86"/>
                    </a:lnTo>
                    <a:lnTo>
                      <a:pt x="20" y="86"/>
                    </a:lnTo>
                    <a:lnTo>
                      <a:pt x="20" y="87"/>
                    </a:lnTo>
                    <a:lnTo>
                      <a:pt x="19" y="88"/>
                    </a:lnTo>
                    <a:lnTo>
                      <a:pt x="17" y="90"/>
                    </a:lnTo>
                    <a:lnTo>
                      <a:pt x="17" y="92"/>
                    </a:lnTo>
                    <a:lnTo>
                      <a:pt x="16" y="90"/>
                    </a:lnTo>
                    <a:lnTo>
                      <a:pt x="16" y="92"/>
                    </a:lnTo>
                    <a:lnTo>
                      <a:pt x="16" y="94"/>
                    </a:lnTo>
                    <a:lnTo>
                      <a:pt x="13" y="95"/>
                    </a:lnTo>
                    <a:lnTo>
                      <a:pt x="11" y="96"/>
                    </a:lnTo>
                    <a:lnTo>
                      <a:pt x="10" y="96"/>
                    </a:lnTo>
                    <a:lnTo>
                      <a:pt x="10" y="98"/>
                    </a:lnTo>
                    <a:lnTo>
                      <a:pt x="10" y="99"/>
                    </a:lnTo>
                    <a:lnTo>
                      <a:pt x="8" y="100"/>
                    </a:lnTo>
                    <a:lnTo>
                      <a:pt x="7" y="101"/>
                    </a:lnTo>
                    <a:lnTo>
                      <a:pt x="6" y="100"/>
                    </a:lnTo>
                    <a:lnTo>
                      <a:pt x="6" y="101"/>
                    </a:lnTo>
                    <a:lnTo>
                      <a:pt x="7" y="104"/>
                    </a:lnTo>
                    <a:lnTo>
                      <a:pt x="7" y="105"/>
                    </a:lnTo>
                    <a:lnTo>
                      <a:pt x="5" y="107"/>
                    </a:lnTo>
                    <a:lnTo>
                      <a:pt x="4" y="108"/>
                    </a:lnTo>
                    <a:lnTo>
                      <a:pt x="1" y="110"/>
                    </a:lnTo>
                    <a:lnTo>
                      <a:pt x="0" y="111"/>
                    </a:lnTo>
                    <a:lnTo>
                      <a:pt x="1" y="112"/>
                    </a:lnTo>
                    <a:lnTo>
                      <a:pt x="2" y="113"/>
                    </a:lnTo>
                    <a:lnTo>
                      <a:pt x="4" y="114"/>
                    </a:lnTo>
                    <a:lnTo>
                      <a:pt x="5" y="116"/>
                    </a:lnTo>
                    <a:lnTo>
                      <a:pt x="7" y="117"/>
                    </a:lnTo>
                    <a:lnTo>
                      <a:pt x="10" y="118"/>
                    </a:lnTo>
                    <a:lnTo>
                      <a:pt x="11" y="118"/>
                    </a:lnTo>
                    <a:lnTo>
                      <a:pt x="13" y="118"/>
                    </a:lnTo>
                    <a:lnTo>
                      <a:pt x="14" y="118"/>
                    </a:lnTo>
                    <a:lnTo>
                      <a:pt x="16" y="119"/>
                    </a:lnTo>
                    <a:lnTo>
                      <a:pt x="17" y="120"/>
                    </a:lnTo>
                    <a:lnTo>
                      <a:pt x="18" y="123"/>
                    </a:lnTo>
                    <a:lnTo>
                      <a:pt x="18" y="124"/>
                    </a:lnTo>
                    <a:lnTo>
                      <a:pt x="19" y="125"/>
                    </a:lnTo>
                    <a:lnTo>
                      <a:pt x="19" y="124"/>
                    </a:lnTo>
                    <a:lnTo>
                      <a:pt x="20" y="124"/>
                    </a:lnTo>
                    <a:lnTo>
                      <a:pt x="20" y="123"/>
                    </a:lnTo>
                    <a:lnTo>
                      <a:pt x="22" y="122"/>
                    </a:lnTo>
                    <a:lnTo>
                      <a:pt x="22" y="120"/>
                    </a:lnTo>
                    <a:lnTo>
                      <a:pt x="23" y="120"/>
                    </a:lnTo>
                    <a:lnTo>
                      <a:pt x="24" y="120"/>
                    </a:lnTo>
                    <a:lnTo>
                      <a:pt x="26" y="120"/>
                    </a:lnTo>
                    <a:lnTo>
                      <a:pt x="26" y="122"/>
                    </a:lnTo>
                    <a:lnTo>
                      <a:pt x="28" y="122"/>
                    </a:lnTo>
                    <a:lnTo>
                      <a:pt x="29" y="122"/>
                    </a:lnTo>
                    <a:lnTo>
                      <a:pt x="30" y="123"/>
                    </a:lnTo>
                    <a:lnTo>
                      <a:pt x="31" y="123"/>
                    </a:lnTo>
                    <a:lnTo>
                      <a:pt x="32" y="123"/>
                    </a:lnTo>
                    <a:lnTo>
                      <a:pt x="34" y="122"/>
                    </a:lnTo>
                    <a:lnTo>
                      <a:pt x="35" y="122"/>
                    </a:lnTo>
                    <a:lnTo>
                      <a:pt x="36" y="122"/>
                    </a:lnTo>
                    <a:lnTo>
                      <a:pt x="36" y="123"/>
                    </a:lnTo>
                    <a:lnTo>
                      <a:pt x="36" y="124"/>
                    </a:lnTo>
                    <a:lnTo>
                      <a:pt x="36" y="125"/>
                    </a:lnTo>
                    <a:lnTo>
                      <a:pt x="36" y="126"/>
                    </a:lnTo>
                    <a:lnTo>
                      <a:pt x="37" y="128"/>
                    </a:lnTo>
                    <a:lnTo>
                      <a:pt x="37" y="129"/>
                    </a:lnTo>
                    <a:lnTo>
                      <a:pt x="38" y="130"/>
                    </a:lnTo>
                    <a:lnTo>
                      <a:pt x="38" y="131"/>
                    </a:lnTo>
                    <a:lnTo>
                      <a:pt x="38" y="132"/>
                    </a:lnTo>
                    <a:lnTo>
                      <a:pt x="37" y="134"/>
                    </a:lnTo>
                    <a:lnTo>
                      <a:pt x="37" y="135"/>
                    </a:lnTo>
                    <a:lnTo>
                      <a:pt x="37" y="136"/>
                    </a:lnTo>
                    <a:lnTo>
                      <a:pt x="37" y="137"/>
                    </a:lnTo>
                    <a:lnTo>
                      <a:pt x="36" y="138"/>
                    </a:lnTo>
                    <a:lnTo>
                      <a:pt x="37" y="140"/>
                    </a:lnTo>
                    <a:lnTo>
                      <a:pt x="37" y="141"/>
                    </a:lnTo>
                    <a:lnTo>
                      <a:pt x="37" y="142"/>
                    </a:lnTo>
                    <a:lnTo>
                      <a:pt x="36" y="143"/>
                    </a:lnTo>
                    <a:lnTo>
                      <a:pt x="36" y="144"/>
                    </a:lnTo>
                    <a:lnTo>
                      <a:pt x="36" y="146"/>
                    </a:lnTo>
                    <a:lnTo>
                      <a:pt x="36" y="147"/>
                    </a:lnTo>
                    <a:lnTo>
                      <a:pt x="35" y="147"/>
                    </a:lnTo>
                    <a:lnTo>
                      <a:pt x="36" y="148"/>
                    </a:lnTo>
                    <a:lnTo>
                      <a:pt x="35" y="148"/>
                    </a:lnTo>
                    <a:lnTo>
                      <a:pt x="35" y="149"/>
                    </a:lnTo>
                    <a:lnTo>
                      <a:pt x="34" y="150"/>
                    </a:lnTo>
                    <a:lnTo>
                      <a:pt x="34" y="152"/>
                    </a:lnTo>
                    <a:lnTo>
                      <a:pt x="32" y="152"/>
                    </a:lnTo>
                    <a:lnTo>
                      <a:pt x="31" y="152"/>
                    </a:lnTo>
                    <a:lnTo>
                      <a:pt x="30" y="153"/>
                    </a:lnTo>
                    <a:lnTo>
                      <a:pt x="30" y="154"/>
                    </a:lnTo>
                    <a:lnTo>
                      <a:pt x="31" y="155"/>
                    </a:lnTo>
                    <a:lnTo>
                      <a:pt x="31" y="156"/>
                    </a:lnTo>
                    <a:lnTo>
                      <a:pt x="32" y="158"/>
                    </a:lnTo>
                    <a:lnTo>
                      <a:pt x="34" y="158"/>
                    </a:lnTo>
                    <a:lnTo>
                      <a:pt x="35" y="159"/>
                    </a:lnTo>
                    <a:lnTo>
                      <a:pt x="36" y="159"/>
                    </a:lnTo>
                    <a:lnTo>
                      <a:pt x="35" y="160"/>
                    </a:lnTo>
                    <a:lnTo>
                      <a:pt x="35" y="161"/>
                    </a:lnTo>
                    <a:lnTo>
                      <a:pt x="34" y="162"/>
                    </a:lnTo>
                    <a:lnTo>
                      <a:pt x="34" y="164"/>
                    </a:lnTo>
                    <a:lnTo>
                      <a:pt x="34" y="165"/>
                    </a:lnTo>
                    <a:lnTo>
                      <a:pt x="32" y="166"/>
                    </a:lnTo>
                    <a:lnTo>
                      <a:pt x="31" y="167"/>
                    </a:lnTo>
                    <a:lnTo>
                      <a:pt x="31" y="168"/>
                    </a:lnTo>
                    <a:lnTo>
                      <a:pt x="31" y="170"/>
                    </a:lnTo>
                    <a:lnTo>
                      <a:pt x="32" y="171"/>
                    </a:lnTo>
                    <a:lnTo>
                      <a:pt x="32" y="170"/>
                    </a:lnTo>
                    <a:lnTo>
                      <a:pt x="34" y="171"/>
                    </a:lnTo>
                    <a:lnTo>
                      <a:pt x="35" y="170"/>
                    </a:lnTo>
                    <a:lnTo>
                      <a:pt x="35" y="168"/>
                    </a:lnTo>
                    <a:lnTo>
                      <a:pt x="37" y="168"/>
                    </a:lnTo>
                    <a:lnTo>
                      <a:pt x="38" y="170"/>
                    </a:lnTo>
                    <a:lnTo>
                      <a:pt x="40" y="168"/>
                    </a:lnTo>
                    <a:lnTo>
                      <a:pt x="41" y="168"/>
                    </a:lnTo>
                    <a:lnTo>
                      <a:pt x="42" y="168"/>
                    </a:lnTo>
                    <a:lnTo>
                      <a:pt x="42" y="170"/>
                    </a:lnTo>
                    <a:lnTo>
                      <a:pt x="43" y="170"/>
                    </a:lnTo>
                    <a:lnTo>
                      <a:pt x="46" y="170"/>
                    </a:lnTo>
                    <a:lnTo>
                      <a:pt x="46" y="168"/>
                    </a:lnTo>
                    <a:lnTo>
                      <a:pt x="47" y="168"/>
                    </a:lnTo>
                    <a:lnTo>
                      <a:pt x="47" y="170"/>
                    </a:lnTo>
                    <a:lnTo>
                      <a:pt x="48" y="170"/>
                    </a:lnTo>
                    <a:lnTo>
                      <a:pt x="49" y="170"/>
                    </a:lnTo>
                    <a:lnTo>
                      <a:pt x="49" y="168"/>
                    </a:lnTo>
                    <a:lnTo>
                      <a:pt x="49" y="167"/>
                    </a:lnTo>
                    <a:lnTo>
                      <a:pt x="50" y="166"/>
                    </a:lnTo>
                    <a:lnTo>
                      <a:pt x="50" y="165"/>
                    </a:lnTo>
                    <a:lnTo>
                      <a:pt x="52" y="165"/>
                    </a:lnTo>
                    <a:lnTo>
                      <a:pt x="53" y="165"/>
                    </a:lnTo>
                    <a:lnTo>
                      <a:pt x="54" y="164"/>
                    </a:lnTo>
                    <a:lnTo>
                      <a:pt x="55" y="164"/>
                    </a:lnTo>
                    <a:lnTo>
                      <a:pt x="56" y="162"/>
                    </a:lnTo>
                    <a:lnTo>
                      <a:pt x="56" y="161"/>
                    </a:lnTo>
                    <a:lnTo>
                      <a:pt x="58" y="161"/>
                    </a:lnTo>
                    <a:lnTo>
                      <a:pt x="59" y="159"/>
                    </a:lnTo>
                    <a:lnTo>
                      <a:pt x="60" y="159"/>
                    </a:lnTo>
                    <a:lnTo>
                      <a:pt x="61" y="158"/>
                    </a:lnTo>
                    <a:lnTo>
                      <a:pt x="62" y="156"/>
                    </a:lnTo>
                    <a:lnTo>
                      <a:pt x="64" y="158"/>
                    </a:lnTo>
                    <a:lnTo>
                      <a:pt x="65" y="158"/>
                    </a:lnTo>
                    <a:lnTo>
                      <a:pt x="65" y="159"/>
                    </a:lnTo>
                    <a:lnTo>
                      <a:pt x="66" y="159"/>
                    </a:lnTo>
                    <a:lnTo>
                      <a:pt x="66" y="160"/>
                    </a:lnTo>
                    <a:lnTo>
                      <a:pt x="66" y="161"/>
                    </a:lnTo>
                    <a:lnTo>
                      <a:pt x="67" y="161"/>
                    </a:lnTo>
                    <a:lnTo>
                      <a:pt x="67" y="162"/>
                    </a:lnTo>
                    <a:lnTo>
                      <a:pt x="67" y="164"/>
                    </a:lnTo>
                    <a:lnTo>
                      <a:pt x="67" y="165"/>
                    </a:lnTo>
                    <a:lnTo>
                      <a:pt x="67" y="166"/>
                    </a:lnTo>
                    <a:lnTo>
                      <a:pt x="67" y="167"/>
                    </a:lnTo>
                    <a:lnTo>
                      <a:pt x="67" y="168"/>
                    </a:lnTo>
                    <a:lnTo>
                      <a:pt x="67" y="170"/>
                    </a:lnTo>
                    <a:lnTo>
                      <a:pt x="67" y="171"/>
                    </a:lnTo>
                    <a:lnTo>
                      <a:pt x="68" y="173"/>
                    </a:lnTo>
                    <a:lnTo>
                      <a:pt x="70" y="173"/>
                    </a:lnTo>
                    <a:lnTo>
                      <a:pt x="70" y="174"/>
                    </a:lnTo>
                    <a:lnTo>
                      <a:pt x="71" y="176"/>
                    </a:lnTo>
                    <a:lnTo>
                      <a:pt x="71" y="177"/>
                    </a:lnTo>
                    <a:lnTo>
                      <a:pt x="72" y="177"/>
                    </a:lnTo>
                    <a:lnTo>
                      <a:pt x="72" y="178"/>
                    </a:lnTo>
                    <a:lnTo>
                      <a:pt x="71" y="179"/>
                    </a:lnTo>
                    <a:lnTo>
                      <a:pt x="73" y="180"/>
                    </a:lnTo>
                    <a:lnTo>
                      <a:pt x="74" y="180"/>
                    </a:lnTo>
                    <a:lnTo>
                      <a:pt x="73" y="182"/>
                    </a:lnTo>
                    <a:lnTo>
                      <a:pt x="73" y="183"/>
                    </a:lnTo>
                    <a:lnTo>
                      <a:pt x="73" y="184"/>
                    </a:lnTo>
                    <a:lnTo>
                      <a:pt x="74" y="185"/>
                    </a:lnTo>
                    <a:lnTo>
                      <a:pt x="76" y="186"/>
                    </a:lnTo>
                    <a:lnTo>
                      <a:pt x="76" y="188"/>
                    </a:lnTo>
                    <a:lnTo>
                      <a:pt x="77" y="188"/>
                    </a:lnTo>
                    <a:lnTo>
                      <a:pt x="78" y="189"/>
                    </a:lnTo>
                    <a:lnTo>
                      <a:pt x="79" y="190"/>
                    </a:lnTo>
                    <a:lnTo>
                      <a:pt x="78" y="190"/>
                    </a:lnTo>
                    <a:lnTo>
                      <a:pt x="78" y="191"/>
                    </a:lnTo>
                    <a:lnTo>
                      <a:pt x="78" y="192"/>
                    </a:lnTo>
                    <a:lnTo>
                      <a:pt x="78" y="194"/>
                    </a:lnTo>
                    <a:lnTo>
                      <a:pt x="79" y="194"/>
                    </a:lnTo>
                    <a:lnTo>
                      <a:pt x="80" y="194"/>
                    </a:lnTo>
                    <a:lnTo>
                      <a:pt x="80" y="195"/>
                    </a:lnTo>
                    <a:lnTo>
                      <a:pt x="80" y="196"/>
                    </a:lnTo>
                    <a:lnTo>
                      <a:pt x="80" y="197"/>
                    </a:lnTo>
                    <a:lnTo>
                      <a:pt x="80" y="198"/>
                    </a:lnTo>
                    <a:lnTo>
                      <a:pt x="82" y="198"/>
                    </a:lnTo>
                    <a:lnTo>
                      <a:pt x="83" y="198"/>
                    </a:lnTo>
                    <a:lnTo>
                      <a:pt x="83" y="200"/>
                    </a:lnTo>
                    <a:lnTo>
                      <a:pt x="84" y="201"/>
                    </a:lnTo>
                    <a:lnTo>
                      <a:pt x="85" y="201"/>
                    </a:lnTo>
                    <a:lnTo>
                      <a:pt x="86" y="201"/>
                    </a:lnTo>
                    <a:lnTo>
                      <a:pt x="88" y="200"/>
                    </a:lnTo>
                    <a:lnTo>
                      <a:pt x="88" y="198"/>
                    </a:lnTo>
                    <a:lnTo>
                      <a:pt x="89" y="197"/>
                    </a:lnTo>
                    <a:lnTo>
                      <a:pt x="89" y="196"/>
                    </a:lnTo>
                    <a:lnTo>
                      <a:pt x="90" y="196"/>
                    </a:lnTo>
                    <a:lnTo>
                      <a:pt x="90" y="197"/>
                    </a:lnTo>
                    <a:lnTo>
                      <a:pt x="91" y="197"/>
                    </a:lnTo>
                    <a:lnTo>
                      <a:pt x="91" y="196"/>
                    </a:lnTo>
                    <a:lnTo>
                      <a:pt x="92" y="196"/>
                    </a:lnTo>
                    <a:lnTo>
                      <a:pt x="94" y="195"/>
                    </a:lnTo>
                    <a:lnTo>
                      <a:pt x="94" y="194"/>
                    </a:lnTo>
                    <a:lnTo>
                      <a:pt x="95" y="194"/>
                    </a:lnTo>
                    <a:lnTo>
                      <a:pt x="95" y="192"/>
                    </a:lnTo>
                    <a:lnTo>
                      <a:pt x="96" y="192"/>
                    </a:lnTo>
                    <a:lnTo>
                      <a:pt x="96" y="191"/>
                    </a:lnTo>
                    <a:lnTo>
                      <a:pt x="97" y="190"/>
                    </a:lnTo>
                    <a:lnTo>
                      <a:pt x="98" y="190"/>
                    </a:lnTo>
                    <a:lnTo>
                      <a:pt x="98" y="189"/>
                    </a:lnTo>
                    <a:lnTo>
                      <a:pt x="100" y="190"/>
                    </a:lnTo>
                    <a:lnTo>
                      <a:pt x="100" y="191"/>
                    </a:lnTo>
                    <a:lnTo>
                      <a:pt x="100" y="192"/>
                    </a:lnTo>
                    <a:lnTo>
                      <a:pt x="100" y="194"/>
                    </a:lnTo>
                    <a:lnTo>
                      <a:pt x="101" y="194"/>
                    </a:lnTo>
                    <a:lnTo>
                      <a:pt x="102" y="195"/>
                    </a:lnTo>
                    <a:lnTo>
                      <a:pt x="103" y="195"/>
                    </a:lnTo>
                    <a:lnTo>
                      <a:pt x="103" y="196"/>
                    </a:lnTo>
                    <a:lnTo>
                      <a:pt x="103" y="197"/>
                    </a:lnTo>
                    <a:lnTo>
                      <a:pt x="103" y="198"/>
                    </a:lnTo>
                    <a:lnTo>
                      <a:pt x="103" y="200"/>
                    </a:lnTo>
                    <a:lnTo>
                      <a:pt x="104" y="200"/>
                    </a:lnTo>
                    <a:lnTo>
                      <a:pt x="106" y="200"/>
                    </a:lnTo>
                    <a:lnTo>
                      <a:pt x="107" y="198"/>
                    </a:lnTo>
                    <a:lnTo>
                      <a:pt x="108" y="198"/>
                    </a:lnTo>
                    <a:lnTo>
                      <a:pt x="109" y="198"/>
                    </a:lnTo>
                    <a:lnTo>
                      <a:pt x="109" y="197"/>
                    </a:lnTo>
                    <a:lnTo>
                      <a:pt x="110" y="198"/>
                    </a:lnTo>
                    <a:lnTo>
                      <a:pt x="112" y="198"/>
                    </a:lnTo>
                    <a:lnTo>
                      <a:pt x="113" y="197"/>
                    </a:lnTo>
                    <a:lnTo>
                      <a:pt x="114" y="197"/>
                    </a:lnTo>
                    <a:lnTo>
                      <a:pt x="115" y="197"/>
                    </a:lnTo>
                    <a:lnTo>
                      <a:pt x="116" y="196"/>
                    </a:lnTo>
                    <a:lnTo>
                      <a:pt x="118" y="196"/>
                    </a:lnTo>
                    <a:lnTo>
                      <a:pt x="119" y="196"/>
                    </a:lnTo>
                    <a:lnTo>
                      <a:pt x="119" y="195"/>
                    </a:lnTo>
                    <a:lnTo>
                      <a:pt x="119" y="194"/>
                    </a:lnTo>
                    <a:lnTo>
                      <a:pt x="120" y="194"/>
                    </a:lnTo>
                    <a:lnTo>
                      <a:pt x="120" y="192"/>
                    </a:lnTo>
                    <a:lnTo>
                      <a:pt x="121" y="191"/>
                    </a:lnTo>
                    <a:lnTo>
                      <a:pt x="122" y="191"/>
                    </a:lnTo>
                    <a:lnTo>
                      <a:pt x="124" y="191"/>
                    </a:lnTo>
                    <a:lnTo>
                      <a:pt x="125" y="191"/>
                    </a:lnTo>
                    <a:lnTo>
                      <a:pt x="126" y="190"/>
                    </a:lnTo>
                    <a:lnTo>
                      <a:pt x="126" y="189"/>
                    </a:lnTo>
                    <a:lnTo>
                      <a:pt x="127" y="188"/>
                    </a:lnTo>
                    <a:lnTo>
                      <a:pt x="128" y="188"/>
                    </a:lnTo>
                    <a:lnTo>
                      <a:pt x="128" y="186"/>
                    </a:lnTo>
                    <a:lnTo>
                      <a:pt x="130" y="185"/>
                    </a:lnTo>
                    <a:lnTo>
                      <a:pt x="131" y="185"/>
                    </a:lnTo>
                    <a:lnTo>
                      <a:pt x="131" y="184"/>
                    </a:lnTo>
                    <a:lnTo>
                      <a:pt x="132" y="184"/>
                    </a:lnTo>
                    <a:lnTo>
                      <a:pt x="133" y="184"/>
                    </a:lnTo>
                    <a:lnTo>
                      <a:pt x="133" y="183"/>
                    </a:lnTo>
                    <a:lnTo>
                      <a:pt x="134" y="183"/>
                    </a:lnTo>
                    <a:lnTo>
                      <a:pt x="136" y="183"/>
                    </a:lnTo>
                    <a:lnTo>
                      <a:pt x="136" y="182"/>
                    </a:lnTo>
                    <a:lnTo>
                      <a:pt x="137" y="180"/>
                    </a:lnTo>
                    <a:lnTo>
                      <a:pt x="138" y="180"/>
                    </a:lnTo>
                    <a:lnTo>
                      <a:pt x="138" y="179"/>
                    </a:lnTo>
                    <a:lnTo>
                      <a:pt x="138" y="178"/>
                    </a:lnTo>
                    <a:lnTo>
                      <a:pt x="138" y="177"/>
                    </a:lnTo>
                    <a:lnTo>
                      <a:pt x="139" y="177"/>
                    </a:lnTo>
                    <a:lnTo>
                      <a:pt x="140" y="177"/>
                    </a:lnTo>
                    <a:lnTo>
                      <a:pt x="142" y="177"/>
                    </a:lnTo>
                    <a:lnTo>
                      <a:pt x="142" y="178"/>
                    </a:lnTo>
                    <a:lnTo>
                      <a:pt x="143" y="178"/>
                    </a:lnTo>
                    <a:lnTo>
                      <a:pt x="143" y="179"/>
                    </a:lnTo>
                    <a:lnTo>
                      <a:pt x="143" y="180"/>
                    </a:lnTo>
                    <a:lnTo>
                      <a:pt x="144" y="182"/>
                    </a:lnTo>
                    <a:lnTo>
                      <a:pt x="144" y="183"/>
                    </a:lnTo>
                    <a:lnTo>
                      <a:pt x="145" y="184"/>
                    </a:lnTo>
                    <a:lnTo>
                      <a:pt x="146" y="184"/>
                    </a:lnTo>
                    <a:lnTo>
                      <a:pt x="148" y="185"/>
                    </a:lnTo>
                    <a:lnTo>
                      <a:pt x="149" y="186"/>
                    </a:lnTo>
                    <a:lnTo>
                      <a:pt x="150" y="185"/>
                    </a:lnTo>
                    <a:lnTo>
                      <a:pt x="150" y="186"/>
                    </a:lnTo>
                    <a:lnTo>
                      <a:pt x="151" y="185"/>
                    </a:lnTo>
                    <a:lnTo>
                      <a:pt x="152" y="185"/>
                    </a:lnTo>
                    <a:lnTo>
                      <a:pt x="154" y="185"/>
                    </a:lnTo>
                    <a:lnTo>
                      <a:pt x="155" y="185"/>
                    </a:lnTo>
                    <a:lnTo>
                      <a:pt x="155" y="184"/>
                    </a:lnTo>
                    <a:lnTo>
                      <a:pt x="156" y="184"/>
                    </a:lnTo>
                    <a:lnTo>
                      <a:pt x="156" y="183"/>
                    </a:lnTo>
                    <a:lnTo>
                      <a:pt x="157" y="182"/>
                    </a:lnTo>
                    <a:lnTo>
                      <a:pt x="157" y="180"/>
                    </a:lnTo>
                    <a:lnTo>
                      <a:pt x="157" y="179"/>
                    </a:lnTo>
                    <a:lnTo>
                      <a:pt x="158" y="179"/>
                    </a:lnTo>
                    <a:lnTo>
                      <a:pt x="160" y="178"/>
                    </a:lnTo>
                    <a:lnTo>
                      <a:pt x="160" y="179"/>
                    </a:lnTo>
                    <a:lnTo>
                      <a:pt x="161" y="179"/>
                    </a:lnTo>
                    <a:lnTo>
                      <a:pt x="160" y="180"/>
                    </a:lnTo>
                    <a:lnTo>
                      <a:pt x="160" y="182"/>
                    </a:lnTo>
                    <a:lnTo>
                      <a:pt x="160" y="183"/>
                    </a:lnTo>
                    <a:lnTo>
                      <a:pt x="161" y="183"/>
                    </a:lnTo>
                    <a:lnTo>
                      <a:pt x="161" y="184"/>
                    </a:lnTo>
                    <a:lnTo>
                      <a:pt x="161" y="185"/>
                    </a:lnTo>
                    <a:lnTo>
                      <a:pt x="162" y="185"/>
                    </a:lnTo>
                    <a:lnTo>
                      <a:pt x="162" y="186"/>
                    </a:lnTo>
                    <a:lnTo>
                      <a:pt x="161" y="186"/>
                    </a:lnTo>
                    <a:lnTo>
                      <a:pt x="161" y="188"/>
                    </a:lnTo>
                    <a:lnTo>
                      <a:pt x="161" y="189"/>
                    </a:lnTo>
                    <a:lnTo>
                      <a:pt x="161" y="190"/>
                    </a:lnTo>
                    <a:lnTo>
                      <a:pt x="162" y="190"/>
                    </a:lnTo>
                    <a:lnTo>
                      <a:pt x="161" y="191"/>
                    </a:lnTo>
                    <a:lnTo>
                      <a:pt x="162" y="192"/>
                    </a:lnTo>
                    <a:lnTo>
                      <a:pt x="162" y="194"/>
                    </a:lnTo>
                    <a:lnTo>
                      <a:pt x="161" y="195"/>
                    </a:lnTo>
                    <a:lnTo>
                      <a:pt x="161" y="196"/>
                    </a:lnTo>
                    <a:lnTo>
                      <a:pt x="161" y="197"/>
                    </a:lnTo>
                    <a:lnTo>
                      <a:pt x="161" y="198"/>
                    </a:lnTo>
                    <a:lnTo>
                      <a:pt x="162" y="198"/>
                    </a:lnTo>
                    <a:lnTo>
                      <a:pt x="163" y="200"/>
                    </a:lnTo>
                    <a:lnTo>
                      <a:pt x="164" y="200"/>
                    </a:lnTo>
                    <a:lnTo>
                      <a:pt x="166" y="201"/>
                    </a:lnTo>
                    <a:lnTo>
                      <a:pt x="166" y="202"/>
                    </a:lnTo>
                    <a:lnTo>
                      <a:pt x="167" y="202"/>
                    </a:lnTo>
                    <a:lnTo>
                      <a:pt x="167" y="203"/>
                    </a:lnTo>
                    <a:lnTo>
                      <a:pt x="167" y="204"/>
                    </a:lnTo>
                    <a:lnTo>
                      <a:pt x="168" y="204"/>
                    </a:lnTo>
                    <a:lnTo>
                      <a:pt x="169" y="204"/>
                    </a:lnTo>
                    <a:lnTo>
                      <a:pt x="170" y="206"/>
                    </a:lnTo>
                    <a:lnTo>
                      <a:pt x="172" y="206"/>
                    </a:lnTo>
                    <a:lnTo>
                      <a:pt x="172" y="204"/>
                    </a:lnTo>
                    <a:lnTo>
                      <a:pt x="173" y="204"/>
                    </a:lnTo>
                    <a:lnTo>
                      <a:pt x="174" y="204"/>
                    </a:lnTo>
                    <a:lnTo>
                      <a:pt x="175" y="204"/>
                    </a:lnTo>
                    <a:lnTo>
                      <a:pt x="176" y="204"/>
                    </a:lnTo>
                    <a:lnTo>
                      <a:pt x="178" y="206"/>
                    </a:lnTo>
                    <a:lnTo>
                      <a:pt x="179" y="206"/>
                    </a:lnTo>
                    <a:lnTo>
                      <a:pt x="180" y="204"/>
                    </a:lnTo>
                    <a:lnTo>
                      <a:pt x="181" y="204"/>
                    </a:lnTo>
                    <a:lnTo>
                      <a:pt x="182" y="204"/>
                    </a:lnTo>
                    <a:lnTo>
                      <a:pt x="182" y="203"/>
                    </a:lnTo>
                    <a:lnTo>
                      <a:pt x="182" y="201"/>
                    </a:lnTo>
                    <a:lnTo>
                      <a:pt x="184" y="200"/>
                    </a:lnTo>
                    <a:lnTo>
                      <a:pt x="184" y="198"/>
                    </a:lnTo>
                    <a:lnTo>
                      <a:pt x="182" y="198"/>
                    </a:lnTo>
                    <a:lnTo>
                      <a:pt x="182" y="197"/>
                    </a:lnTo>
                    <a:lnTo>
                      <a:pt x="182" y="196"/>
                    </a:lnTo>
                    <a:lnTo>
                      <a:pt x="184" y="195"/>
                    </a:lnTo>
                    <a:lnTo>
                      <a:pt x="184" y="196"/>
                    </a:lnTo>
                    <a:lnTo>
                      <a:pt x="185" y="196"/>
                    </a:lnTo>
                    <a:lnTo>
                      <a:pt x="186" y="197"/>
                    </a:lnTo>
                    <a:lnTo>
                      <a:pt x="187" y="197"/>
                    </a:lnTo>
                    <a:lnTo>
                      <a:pt x="188" y="197"/>
                    </a:lnTo>
                    <a:lnTo>
                      <a:pt x="191" y="195"/>
                    </a:lnTo>
                    <a:lnTo>
                      <a:pt x="192" y="195"/>
                    </a:lnTo>
                    <a:lnTo>
                      <a:pt x="192" y="194"/>
                    </a:lnTo>
                    <a:lnTo>
                      <a:pt x="192" y="191"/>
                    </a:lnTo>
                    <a:lnTo>
                      <a:pt x="193" y="191"/>
                    </a:lnTo>
                    <a:lnTo>
                      <a:pt x="193" y="190"/>
                    </a:lnTo>
                    <a:lnTo>
                      <a:pt x="193" y="189"/>
                    </a:lnTo>
                    <a:lnTo>
                      <a:pt x="194" y="189"/>
                    </a:lnTo>
                    <a:lnTo>
                      <a:pt x="194" y="188"/>
                    </a:lnTo>
                    <a:lnTo>
                      <a:pt x="196" y="186"/>
                    </a:lnTo>
                    <a:lnTo>
                      <a:pt x="196" y="185"/>
                    </a:lnTo>
                    <a:lnTo>
                      <a:pt x="197" y="184"/>
                    </a:lnTo>
                    <a:lnTo>
                      <a:pt x="197" y="183"/>
                    </a:lnTo>
                    <a:lnTo>
                      <a:pt x="198" y="182"/>
                    </a:lnTo>
                    <a:close/>
                  </a:path>
                </a:pathLst>
              </a:custGeom>
              <a:solidFill>
                <a:srgbClr val="EAEAEA"/>
              </a:solidFill>
              <a:ln w="9525" cmpd="sng">
                <a:solidFill>
                  <a:srgbClr val="777777"/>
                </a:solidFill>
                <a:round/>
                <a:headEnd/>
                <a:tailEnd/>
              </a:ln>
              <a:effectLst>
                <a:outerShdw dist="107763" dir="2700000" algn="ctr" rotWithShape="0">
                  <a:srgbClr val="808080">
                    <a:alpha val="50000"/>
                  </a:srgbClr>
                </a:outerShdw>
              </a:effectLst>
            </p:spPr>
            <p:txBody>
              <a:bodyPr/>
              <a:lstStyle/>
              <a:p>
                <a:pPr latinLnBrk="0">
                  <a:defRPr/>
                </a:pPr>
                <a:endParaRPr kumimoji="0" lang="ko-KR" altLang="en-US" dirty="0">
                  <a:ea typeface="+mn-ea"/>
                </a:endParaRPr>
              </a:p>
            </p:txBody>
          </p:sp>
          <p:sp>
            <p:nvSpPr>
              <p:cNvPr id="27" name="Freeform 12"/>
              <p:cNvSpPr>
                <a:spLocks/>
              </p:cNvSpPr>
              <p:nvPr/>
            </p:nvSpPr>
            <p:spPr bwMode="auto">
              <a:xfrm>
                <a:off x="3033316" y="2771680"/>
                <a:ext cx="288771" cy="224576"/>
              </a:xfrm>
              <a:custGeom>
                <a:avLst/>
                <a:gdLst/>
                <a:ahLst/>
                <a:cxnLst>
                  <a:cxn ang="0">
                    <a:pos x="194" y="17"/>
                  </a:cxn>
                  <a:cxn ang="0">
                    <a:pos x="191" y="6"/>
                  </a:cxn>
                  <a:cxn ang="0">
                    <a:pos x="180" y="6"/>
                  </a:cxn>
                  <a:cxn ang="0">
                    <a:pos x="170" y="11"/>
                  </a:cxn>
                  <a:cxn ang="0">
                    <a:pos x="162" y="8"/>
                  </a:cxn>
                  <a:cxn ang="0">
                    <a:pos x="152" y="2"/>
                  </a:cxn>
                  <a:cxn ang="0">
                    <a:pos x="145" y="9"/>
                  </a:cxn>
                  <a:cxn ang="0">
                    <a:pos x="139" y="15"/>
                  </a:cxn>
                  <a:cxn ang="0">
                    <a:pos x="137" y="23"/>
                  </a:cxn>
                  <a:cxn ang="0">
                    <a:pos x="132" y="30"/>
                  </a:cxn>
                  <a:cxn ang="0">
                    <a:pos x="130" y="39"/>
                  </a:cxn>
                  <a:cxn ang="0">
                    <a:pos x="132" y="50"/>
                  </a:cxn>
                  <a:cxn ang="0">
                    <a:pos x="122" y="54"/>
                  </a:cxn>
                  <a:cxn ang="0">
                    <a:pos x="116" y="41"/>
                  </a:cxn>
                  <a:cxn ang="0">
                    <a:pos x="108" y="33"/>
                  </a:cxn>
                  <a:cxn ang="0">
                    <a:pos x="98" y="39"/>
                  </a:cxn>
                  <a:cxn ang="0">
                    <a:pos x="88" y="41"/>
                  </a:cxn>
                  <a:cxn ang="0">
                    <a:pos x="85" y="53"/>
                  </a:cxn>
                  <a:cxn ang="0">
                    <a:pos x="84" y="63"/>
                  </a:cxn>
                  <a:cxn ang="0">
                    <a:pos x="83" y="72"/>
                  </a:cxn>
                  <a:cxn ang="0">
                    <a:pos x="82" y="81"/>
                  </a:cxn>
                  <a:cxn ang="0">
                    <a:pos x="73" y="83"/>
                  </a:cxn>
                  <a:cxn ang="0">
                    <a:pos x="62" y="94"/>
                  </a:cxn>
                  <a:cxn ang="0">
                    <a:pos x="35" y="83"/>
                  </a:cxn>
                  <a:cxn ang="0">
                    <a:pos x="20" y="87"/>
                  </a:cxn>
                  <a:cxn ang="0">
                    <a:pos x="10" y="98"/>
                  </a:cxn>
                  <a:cxn ang="0">
                    <a:pos x="1" y="110"/>
                  </a:cxn>
                  <a:cxn ang="0">
                    <a:pos x="14" y="118"/>
                  </a:cxn>
                  <a:cxn ang="0">
                    <a:pos x="22" y="120"/>
                  </a:cxn>
                  <a:cxn ang="0">
                    <a:pos x="34" y="122"/>
                  </a:cxn>
                  <a:cxn ang="0">
                    <a:pos x="38" y="131"/>
                  </a:cxn>
                  <a:cxn ang="0">
                    <a:pos x="36" y="143"/>
                  </a:cxn>
                  <a:cxn ang="0">
                    <a:pos x="32" y="152"/>
                  </a:cxn>
                  <a:cxn ang="0">
                    <a:pos x="35" y="160"/>
                  </a:cxn>
                  <a:cxn ang="0">
                    <a:pos x="32" y="170"/>
                  </a:cxn>
                  <a:cxn ang="0">
                    <a:pos x="43" y="170"/>
                  </a:cxn>
                  <a:cxn ang="0">
                    <a:pos x="50" y="165"/>
                  </a:cxn>
                  <a:cxn ang="0">
                    <a:pos x="61" y="158"/>
                  </a:cxn>
                  <a:cxn ang="0">
                    <a:pos x="67" y="164"/>
                  </a:cxn>
                  <a:cxn ang="0">
                    <a:pos x="71" y="176"/>
                  </a:cxn>
                  <a:cxn ang="0">
                    <a:pos x="74" y="185"/>
                  </a:cxn>
                  <a:cxn ang="0">
                    <a:pos x="79" y="194"/>
                  </a:cxn>
                  <a:cxn ang="0">
                    <a:pos x="85" y="201"/>
                  </a:cxn>
                  <a:cxn ang="0">
                    <a:pos x="92" y="196"/>
                  </a:cxn>
                  <a:cxn ang="0">
                    <a:pos x="100" y="190"/>
                  </a:cxn>
                  <a:cxn ang="0">
                    <a:pos x="103" y="200"/>
                  </a:cxn>
                  <a:cxn ang="0">
                    <a:pos x="114" y="197"/>
                  </a:cxn>
                  <a:cxn ang="0">
                    <a:pos x="122" y="191"/>
                  </a:cxn>
                  <a:cxn ang="0">
                    <a:pos x="131" y="184"/>
                  </a:cxn>
                  <a:cxn ang="0">
                    <a:pos x="138" y="178"/>
                  </a:cxn>
                  <a:cxn ang="0">
                    <a:pos x="144" y="183"/>
                  </a:cxn>
                  <a:cxn ang="0">
                    <a:pos x="155" y="185"/>
                  </a:cxn>
                  <a:cxn ang="0">
                    <a:pos x="161" y="179"/>
                  </a:cxn>
                  <a:cxn ang="0">
                    <a:pos x="161" y="188"/>
                  </a:cxn>
                  <a:cxn ang="0">
                    <a:pos x="161" y="198"/>
                  </a:cxn>
                  <a:cxn ang="0">
                    <a:pos x="169" y="204"/>
                  </a:cxn>
                  <a:cxn ang="0">
                    <a:pos x="180" y="204"/>
                  </a:cxn>
                  <a:cxn ang="0">
                    <a:pos x="184" y="195"/>
                  </a:cxn>
                  <a:cxn ang="0">
                    <a:pos x="193" y="191"/>
                  </a:cxn>
                </a:cxnLst>
                <a:rect l="0" t="0" r="r" b="b"/>
                <a:pathLst>
                  <a:path w="198" h="206">
                    <a:moveTo>
                      <a:pt x="197" y="27"/>
                    </a:moveTo>
                    <a:lnTo>
                      <a:pt x="197" y="26"/>
                    </a:lnTo>
                    <a:lnTo>
                      <a:pt x="197" y="24"/>
                    </a:lnTo>
                    <a:lnTo>
                      <a:pt x="197" y="23"/>
                    </a:lnTo>
                    <a:lnTo>
                      <a:pt x="197" y="24"/>
                    </a:lnTo>
                    <a:lnTo>
                      <a:pt x="197" y="23"/>
                    </a:lnTo>
                    <a:lnTo>
                      <a:pt x="196" y="22"/>
                    </a:lnTo>
                    <a:lnTo>
                      <a:pt x="194" y="20"/>
                    </a:lnTo>
                    <a:lnTo>
                      <a:pt x="194" y="18"/>
                    </a:lnTo>
                    <a:lnTo>
                      <a:pt x="194" y="17"/>
                    </a:lnTo>
                    <a:lnTo>
                      <a:pt x="196" y="16"/>
                    </a:lnTo>
                    <a:lnTo>
                      <a:pt x="197" y="15"/>
                    </a:lnTo>
                    <a:lnTo>
                      <a:pt x="197" y="14"/>
                    </a:lnTo>
                    <a:lnTo>
                      <a:pt x="198" y="12"/>
                    </a:lnTo>
                    <a:lnTo>
                      <a:pt x="197" y="10"/>
                    </a:lnTo>
                    <a:lnTo>
                      <a:pt x="196" y="10"/>
                    </a:lnTo>
                    <a:lnTo>
                      <a:pt x="194" y="9"/>
                    </a:lnTo>
                    <a:lnTo>
                      <a:pt x="192" y="9"/>
                    </a:lnTo>
                    <a:lnTo>
                      <a:pt x="192" y="8"/>
                    </a:lnTo>
                    <a:lnTo>
                      <a:pt x="191" y="6"/>
                    </a:lnTo>
                    <a:lnTo>
                      <a:pt x="191" y="5"/>
                    </a:lnTo>
                    <a:lnTo>
                      <a:pt x="190" y="4"/>
                    </a:lnTo>
                    <a:lnTo>
                      <a:pt x="188" y="4"/>
                    </a:lnTo>
                    <a:lnTo>
                      <a:pt x="186" y="5"/>
                    </a:lnTo>
                    <a:lnTo>
                      <a:pt x="185" y="5"/>
                    </a:lnTo>
                    <a:lnTo>
                      <a:pt x="185" y="6"/>
                    </a:lnTo>
                    <a:lnTo>
                      <a:pt x="184" y="6"/>
                    </a:lnTo>
                    <a:lnTo>
                      <a:pt x="182" y="6"/>
                    </a:lnTo>
                    <a:lnTo>
                      <a:pt x="181" y="5"/>
                    </a:lnTo>
                    <a:lnTo>
                      <a:pt x="180" y="6"/>
                    </a:lnTo>
                    <a:lnTo>
                      <a:pt x="179" y="5"/>
                    </a:lnTo>
                    <a:lnTo>
                      <a:pt x="178" y="5"/>
                    </a:lnTo>
                    <a:lnTo>
                      <a:pt x="178" y="6"/>
                    </a:lnTo>
                    <a:lnTo>
                      <a:pt x="176" y="8"/>
                    </a:lnTo>
                    <a:lnTo>
                      <a:pt x="176" y="9"/>
                    </a:lnTo>
                    <a:lnTo>
                      <a:pt x="175" y="10"/>
                    </a:lnTo>
                    <a:lnTo>
                      <a:pt x="174" y="10"/>
                    </a:lnTo>
                    <a:lnTo>
                      <a:pt x="172" y="11"/>
                    </a:lnTo>
                    <a:lnTo>
                      <a:pt x="172" y="12"/>
                    </a:lnTo>
                    <a:lnTo>
                      <a:pt x="170" y="11"/>
                    </a:lnTo>
                    <a:lnTo>
                      <a:pt x="170" y="9"/>
                    </a:lnTo>
                    <a:lnTo>
                      <a:pt x="170" y="6"/>
                    </a:lnTo>
                    <a:lnTo>
                      <a:pt x="169" y="8"/>
                    </a:lnTo>
                    <a:lnTo>
                      <a:pt x="168" y="8"/>
                    </a:lnTo>
                    <a:lnTo>
                      <a:pt x="167" y="6"/>
                    </a:lnTo>
                    <a:lnTo>
                      <a:pt x="167" y="5"/>
                    </a:lnTo>
                    <a:lnTo>
                      <a:pt x="166" y="5"/>
                    </a:lnTo>
                    <a:lnTo>
                      <a:pt x="164" y="5"/>
                    </a:lnTo>
                    <a:lnTo>
                      <a:pt x="164" y="6"/>
                    </a:lnTo>
                    <a:lnTo>
                      <a:pt x="162" y="8"/>
                    </a:lnTo>
                    <a:lnTo>
                      <a:pt x="161" y="8"/>
                    </a:lnTo>
                    <a:lnTo>
                      <a:pt x="160" y="8"/>
                    </a:lnTo>
                    <a:lnTo>
                      <a:pt x="158" y="6"/>
                    </a:lnTo>
                    <a:lnTo>
                      <a:pt x="158" y="5"/>
                    </a:lnTo>
                    <a:lnTo>
                      <a:pt x="158" y="3"/>
                    </a:lnTo>
                    <a:lnTo>
                      <a:pt x="157" y="2"/>
                    </a:lnTo>
                    <a:lnTo>
                      <a:pt x="156" y="2"/>
                    </a:lnTo>
                    <a:lnTo>
                      <a:pt x="155" y="2"/>
                    </a:lnTo>
                    <a:lnTo>
                      <a:pt x="154" y="2"/>
                    </a:lnTo>
                    <a:lnTo>
                      <a:pt x="152" y="2"/>
                    </a:lnTo>
                    <a:lnTo>
                      <a:pt x="151" y="0"/>
                    </a:lnTo>
                    <a:lnTo>
                      <a:pt x="150" y="0"/>
                    </a:lnTo>
                    <a:lnTo>
                      <a:pt x="149" y="3"/>
                    </a:lnTo>
                    <a:lnTo>
                      <a:pt x="149" y="4"/>
                    </a:lnTo>
                    <a:lnTo>
                      <a:pt x="148" y="5"/>
                    </a:lnTo>
                    <a:lnTo>
                      <a:pt x="146" y="5"/>
                    </a:lnTo>
                    <a:lnTo>
                      <a:pt x="146" y="6"/>
                    </a:lnTo>
                    <a:lnTo>
                      <a:pt x="145" y="6"/>
                    </a:lnTo>
                    <a:lnTo>
                      <a:pt x="145" y="8"/>
                    </a:lnTo>
                    <a:lnTo>
                      <a:pt x="145" y="9"/>
                    </a:lnTo>
                    <a:lnTo>
                      <a:pt x="145" y="10"/>
                    </a:lnTo>
                    <a:lnTo>
                      <a:pt x="145" y="11"/>
                    </a:lnTo>
                    <a:lnTo>
                      <a:pt x="145" y="12"/>
                    </a:lnTo>
                    <a:lnTo>
                      <a:pt x="145" y="14"/>
                    </a:lnTo>
                    <a:lnTo>
                      <a:pt x="144" y="14"/>
                    </a:lnTo>
                    <a:lnTo>
                      <a:pt x="144" y="15"/>
                    </a:lnTo>
                    <a:lnTo>
                      <a:pt x="143" y="15"/>
                    </a:lnTo>
                    <a:lnTo>
                      <a:pt x="142" y="15"/>
                    </a:lnTo>
                    <a:lnTo>
                      <a:pt x="140" y="15"/>
                    </a:lnTo>
                    <a:lnTo>
                      <a:pt x="139" y="15"/>
                    </a:lnTo>
                    <a:lnTo>
                      <a:pt x="138" y="15"/>
                    </a:lnTo>
                    <a:lnTo>
                      <a:pt x="138" y="16"/>
                    </a:lnTo>
                    <a:lnTo>
                      <a:pt x="137" y="16"/>
                    </a:lnTo>
                    <a:lnTo>
                      <a:pt x="136" y="16"/>
                    </a:lnTo>
                    <a:lnTo>
                      <a:pt x="136" y="17"/>
                    </a:lnTo>
                    <a:lnTo>
                      <a:pt x="136" y="18"/>
                    </a:lnTo>
                    <a:lnTo>
                      <a:pt x="136" y="20"/>
                    </a:lnTo>
                    <a:lnTo>
                      <a:pt x="136" y="21"/>
                    </a:lnTo>
                    <a:lnTo>
                      <a:pt x="137" y="22"/>
                    </a:lnTo>
                    <a:lnTo>
                      <a:pt x="137" y="23"/>
                    </a:lnTo>
                    <a:lnTo>
                      <a:pt x="137" y="24"/>
                    </a:lnTo>
                    <a:lnTo>
                      <a:pt x="137" y="26"/>
                    </a:lnTo>
                    <a:lnTo>
                      <a:pt x="137" y="27"/>
                    </a:lnTo>
                    <a:lnTo>
                      <a:pt x="136" y="27"/>
                    </a:lnTo>
                    <a:lnTo>
                      <a:pt x="136" y="28"/>
                    </a:lnTo>
                    <a:lnTo>
                      <a:pt x="136" y="29"/>
                    </a:lnTo>
                    <a:lnTo>
                      <a:pt x="134" y="29"/>
                    </a:lnTo>
                    <a:lnTo>
                      <a:pt x="133" y="29"/>
                    </a:lnTo>
                    <a:lnTo>
                      <a:pt x="133" y="30"/>
                    </a:lnTo>
                    <a:lnTo>
                      <a:pt x="132" y="30"/>
                    </a:lnTo>
                    <a:lnTo>
                      <a:pt x="132" y="32"/>
                    </a:lnTo>
                    <a:lnTo>
                      <a:pt x="131" y="33"/>
                    </a:lnTo>
                    <a:lnTo>
                      <a:pt x="131" y="34"/>
                    </a:lnTo>
                    <a:lnTo>
                      <a:pt x="130" y="34"/>
                    </a:lnTo>
                    <a:lnTo>
                      <a:pt x="130" y="35"/>
                    </a:lnTo>
                    <a:lnTo>
                      <a:pt x="128" y="35"/>
                    </a:lnTo>
                    <a:lnTo>
                      <a:pt x="128" y="36"/>
                    </a:lnTo>
                    <a:lnTo>
                      <a:pt x="128" y="38"/>
                    </a:lnTo>
                    <a:lnTo>
                      <a:pt x="128" y="39"/>
                    </a:lnTo>
                    <a:lnTo>
                      <a:pt x="130" y="39"/>
                    </a:lnTo>
                    <a:lnTo>
                      <a:pt x="130" y="40"/>
                    </a:lnTo>
                    <a:lnTo>
                      <a:pt x="131" y="41"/>
                    </a:lnTo>
                    <a:lnTo>
                      <a:pt x="131" y="42"/>
                    </a:lnTo>
                    <a:lnTo>
                      <a:pt x="131" y="44"/>
                    </a:lnTo>
                    <a:lnTo>
                      <a:pt x="131" y="45"/>
                    </a:lnTo>
                    <a:lnTo>
                      <a:pt x="131" y="46"/>
                    </a:lnTo>
                    <a:lnTo>
                      <a:pt x="131" y="47"/>
                    </a:lnTo>
                    <a:lnTo>
                      <a:pt x="131" y="48"/>
                    </a:lnTo>
                    <a:lnTo>
                      <a:pt x="132" y="48"/>
                    </a:lnTo>
                    <a:lnTo>
                      <a:pt x="132" y="50"/>
                    </a:lnTo>
                    <a:lnTo>
                      <a:pt x="131" y="50"/>
                    </a:lnTo>
                    <a:lnTo>
                      <a:pt x="131" y="51"/>
                    </a:lnTo>
                    <a:lnTo>
                      <a:pt x="130" y="51"/>
                    </a:lnTo>
                    <a:lnTo>
                      <a:pt x="128" y="52"/>
                    </a:lnTo>
                    <a:lnTo>
                      <a:pt x="127" y="52"/>
                    </a:lnTo>
                    <a:lnTo>
                      <a:pt x="126" y="53"/>
                    </a:lnTo>
                    <a:lnTo>
                      <a:pt x="125" y="53"/>
                    </a:lnTo>
                    <a:lnTo>
                      <a:pt x="125" y="54"/>
                    </a:lnTo>
                    <a:lnTo>
                      <a:pt x="124" y="54"/>
                    </a:lnTo>
                    <a:lnTo>
                      <a:pt x="122" y="54"/>
                    </a:lnTo>
                    <a:lnTo>
                      <a:pt x="120" y="54"/>
                    </a:lnTo>
                    <a:lnTo>
                      <a:pt x="118" y="53"/>
                    </a:lnTo>
                    <a:lnTo>
                      <a:pt x="119" y="52"/>
                    </a:lnTo>
                    <a:lnTo>
                      <a:pt x="119" y="51"/>
                    </a:lnTo>
                    <a:lnTo>
                      <a:pt x="119" y="48"/>
                    </a:lnTo>
                    <a:lnTo>
                      <a:pt x="118" y="47"/>
                    </a:lnTo>
                    <a:lnTo>
                      <a:pt x="118" y="46"/>
                    </a:lnTo>
                    <a:lnTo>
                      <a:pt x="116" y="44"/>
                    </a:lnTo>
                    <a:lnTo>
                      <a:pt x="116" y="42"/>
                    </a:lnTo>
                    <a:lnTo>
                      <a:pt x="116" y="41"/>
                    </a:lnTo>
                    <a:lnTo>
                      <a:pt x="116" y="40"/>
                    </a:lnTo>
                    <a:lnTo>
                      <a:pt x="115" y="40"/>
                    </a:lnTo>
                    <a:lnTo>
                      <a:pt x="115" y="39"/>
                    </a:lnTo>
                    <a:lnTo>
                      <a:pt x="115" y="38"/>
                    </a:lnTo>
                    <a:lnTo>
                      <a:pt x="114" y="38"/>
                    </a:lnTo>
                    <a:lnTo>
                      <a:pt x="113" y="36"/>
                    </a:lnTo>
                    <a:lnTo>
                      <a:pt x="112" y="35"/>
                    </a:lnTo>
                    <a:lnTo>
                      <a:pt x="110" y="35"/>
                    </a:lnTo>
                    <a:lnTo>
                      <a:pt x="109" y="34"/>
                    </a:lnTo>
                    <a:lnTo>
                      <a:pt x="108" y="33"/>
                    </a:lnTo>
                    <a:lnTo>
                      <a:pt x="107" y="34"/>
                    </a:lnTo>
                    <a:lnTo>
                      <a:pt x="106" y="34"/>
                    </a:lnTo>
                    <a:lnTo>
                      <a:pt x="104" y="34"/>
                    </a:lnTo>
                    <a:lnTo>
                      <a:pt x="104" y="35"/>
                    </a:lnTo>
                    <a:lnTo>
                      <a:pt x="103" y="36"/>
                    </a:lnTo>
                    <a:lnTo>
                      <a:pt x="103" y="38"/>
                    </a:lnTo>
                    <a:lnTo>
                      <a:pt x="102" y="38"/>
                    </a:lnTo>
                    <a:lnTo>
                      <a:pt x="101" y="39"/>
                    </a:lnTo>
                    <a:lnTo>
                      <a:pt x="100" y="39"/>
                    </a:lnTo>
                    <a:lnTo>
                      <a:pt x="98" y="39"/>
                    </a:lnTo>
                    <a:lnTo>
                      <a:pt x="98" y="40"/>
                    </a:lnTo>
                    <a:lnTo>
                      <a:pt x="97" y="40"/>
                    </a:lnTo>
                    <a:lnTo>
                      <a:pt x="96" y="41"/>
                    </a:lnTo>
                    <a:lnTo>
                      <a:pt x="95" y="42"/>
                    </a:lnTo>
                    <a:lnTo>
                      <a:pt x="91" y="44"/>
                    </a:lnTo>
                    <a:lnTo>
                      <a:pt x="90" y="44"/>
                    </a:lnTo>
                    <a:lnTo>
                      <a:pt x="89" y="44"/>
                    </a:lnTo>
                    <a:lnTo>
                      <a:pt x="89" y="42"/>
                    </a:lnTo>
                    <a:lnTo>
                      <a:pt x="88" y="42"/>
                    </a:lnTo>
                    <a:lnTo>
                      <a:pt x="88" y="41"/>
                    </a:lnTo>
                    <a:lnTo>
                      <a:pt x="85" y="40"/>
                    </a:lnTo>
                    <a:lnTo>
                      <a:pt x="85" y="41"/>
                    </a:lnTo>
                    <a:lnTo>
                      <a:pt x="86" y="42"/>
                    </a:lnTo>
                    <a:lnTo>
                      <a:pt x="86" y="44"/>
                    </a:lnTo>
                    <a:lnTo>
                      <a:pt x="88" y="44"/>
                    </a:lnTo>
                    <a:lnTo>
                      <a:pt x="88" y="45"/>
                    </a:lnTo>
                    <a:lnTo>
                      <a:pt x="88" y="46"/>
                    </a:lnTo>
                    <a:lnTo>
                      <a:pt x="88" y="47"/>
                    </a:lnTo>
                    <a:lnTo>
                      <a:pt x="88" y="48"/>
                    </a:lnTo>
                    <a:lnTo>
                      <a:pt x="85" y="53"/>
                    </a:lnTo>
                    <a:lnTo>
                      <a:pt x="85" y="54"/>
                    </a:lnTo>
                    <a:lnTo>
                      <a:pt x="85" y="53"/>
                    </a:lnTo>
                    <a:lnTo>
                      <a:pt x="85" y="54"/>
                    </a:lnTo>
                    <a:lnTo>
                      <a:pt x="85" y="56"/>
                    </a:lnTo>
                    <a:lnTo>
                      <a:pt x="86" y="57"/>
                    </a:lnTo>
                    <a:lnTo>
                      <a:pt x="85" y="58"/>
                    </a:lnTo>
                    <a:lnTo>
                      <a:pt x="85" y="59"/>
                    </a:lnTo>
                    <a:lnTo>
                      <a:pt x="85" y="60"/>
                    </a:lnTo>
                    <a:lnTo>
                      <a:pt x="84" y="62"/>
                    </a:lnTo>
                    <a:lnTo>
                      <a:pt x="84" y="63"/>
                    </a:lnTo>
                    <a:lnTo>
                      <a:pt x="83" y="63"/>
                    </a:lnTo>
                    <a:lnTo>
                      <a:pt x="83" y="64"/>
                    </a:lnTo>
                    <a:lnTo>
                      <a:pt x="83" y="65"/>
                    </a:lnTo>
                    <a:lnTo>
                      <a:pt x="83" y="66"/>
                    </a:lnTo>
                    <a:lnTo>
                      <a:pt x="82" y="66"/>
                    </a:lnTo>
                    <a:lnTo>
                      <a:pt x="83" y="68"/>
                    </a:lnTo>
                    <a:lnTo>
                      <a:pt x="83" y="69"/>
                    </a:lnTo>
                    <a:lnTo>
                      <a:pt x="83" y="70"/>
                    </a:lnTo>
                    <a:lnTo>
                      <a:pt x="83" y="71"/>
                    </a:lnTo>
                    <a:lnTo>
                      <a:pt x="83" y="72"/>
                    </a:lnTo>
                    <a:lnTo>
                      <a:pt x="83" y="74"/>
                    </a:lnTo>
                    <a:lnTo>
                      <a:pt x="82" y="74"/>
                    </a:lnTo>
                    <a:lnTo>
                      <a:pt x="83" y="74"/>
                    </a:lnTo>
                    <a:lnTo>
                      <a:pt x="82" y="75"/>
                    </a:lnTo>
                    <a:lnTo>
                      <a:pt x="82" y="76"/>
                    </a:lnTo>
                    <a:lnTo>
                      <a:pt x="83" y="77"/>
                    </a:lnTo>
                    <a:lnTo>
                      <a:pt x="83" y="78"/>
                    </a:lnTo>
                    <a:lnTo>
                      <a:pt x="83" y="80"/>
                    </a:lnTo>
                    <a:lnTo>
                      <a:pt x="82" y="80"/>
                    </a:lnTo>
                    <a:lnTo>
                      <a:pt x="82" y="81"/>
                    </a:lnTo>
                    <a:lnTo>
                      <a:pt x="80" y="82"/>
                    </a:lnTo>
                    <a:lnTo>
                      <a:pt x="80" y="83"/>
                    </a:lnTo>
                    <a:lnTo>
                      <a:pt x="80" y="84"/>
                    </a:lnTo>
                    <a:lnTo>
                      <a:pt x="79" y="84"/>
                    </a:lnTo>
                    <a:lnTo>
                      <a:pt x="78" y="84"/>
                    </a:lnTo>
                    <a:lnTo>
                      <a:pt x="77" y="86"/>
                    </a:lnTo>
                    <a:lnTo>
                      <a:pt x="76" y="86"/>
                    </a:lnTo>
                    <a:lnTo>
                      <a:pt x="74" y="84"/>
                    </a:lnTo>
                    <a:lnTo>
                      <a:pt x="73" y="84"/>
                    </a:lnTo>
                    <a:lnTo>
                      <a:pt x="73" y="83"/>
                    </a:lnTo>
                    <a:lnTo>
                      <a:pt x="73" y="82"/>
                    </a:lnTo>
                    <a:lnTo>
                      <a:pt x="72" y="82"/>
                    </a:lnTo>
                    <a:lnTo>
                      <a:pt x="71" y="83"/>
                    </a:lnTo>
                    <a:lnTo>
                      <a:pt x="70" y="84"/>
                    </a:lnTo>
                    <a:lnTo>
                      <a:pt x="70" y="86"/>
                    </a:lnTo>
                    <a:lnTo>
                      <a:pt x="68" y="87"/>
                    </a:lnTo>
                    <a:lnTo>
                      <a:pt x="68" y="88"/>
                    </a:lnTo>
                    <a:lnTo>
                      <a:pt x="68" y="89"/>
                    </a:lnTo>
                    <a:lnTo>
                      <a:pt x="67" y="92"/>
                    </a:lnTo>
                    <a:lnTo>
                      <a:pt x="62" y="94"/>
                    </a:lnTo>
                    <a:lnTo>
                      <a:pt x="60" y="95"/>
                    </a:lnTo>
                    <a:lnTo>
                      <a:pt x="56" y="96"/>
                    </a:lnTo>
                    <a:lnTo>
                      <a:pt x="55" y="96"/>
                    </a:lnTo>
                    <a:lnTo>
                      <a:pt x="54" y="96"/>
                    </a:lnTo>
                    <a:lnTo>
                      <a:pt x="52" y="95"/>
                    </a:lnTo>
                    <a:lnTo>
                      <a:pt x="48" y="94"/>
                    </a:lnTo>
                    <a:lnTo>
                      <a:pt x="44" y="90"/>
                    </a:lnTo>
                    <a:lnTo>
                      <a:pt x="41" y="87"/>
                    </a:lnTo>
                    <a:lnTo>
                      <a:pt x="38" y="83"/>
                    </a:lnTo>
                    <a:lnTo>
                      <a:pt x="35" y="83"/>
                    </a:lnTo>
                    <a:lnTo>
                      <a:pt x="23" y="72"/>
                    </a:lnTo>
                    <a:lnTo>
                      <a:pt x="20" y="75"/>
                    </a:lnTo>
                    <a:lnTo>
                      <a:pt x="20" y="77"/>
                    </a:lnTo>
                    <a:lnTo>
                      <a:pt x="19" y="78"/>
                    </a:lnTo>
                    <a:lnTo>
                      <a:pt x="19" y="81"/>
                    </a:lnTo>
                    <a:lnTo>
                      <a:pt x="20" y="82"/>
                    </a:lnTo>
                    <a:lnTo>
                      <a:pt x="22" y="84"/>
                    </a:lnTo>
                    <a:lnTo>
                      <a:pt x="22" y="86"/>
                    </a:lnTo>
                    <a:lnTo>
                      <a:pt x="20" y="86"/>
                    </a:lnTo>
                    <a:lnTo>
                      <a:pt x="20" y="87"/>
                    </a:lnTo>
                    <a:lnTo>
                      <a:pt x="19" y="88"/>
                    </a:lnTo>
                    <a:lnTo>
                      <a:pt x="17" y="90"/>
                    </a:lnTo>
                    <a:lnTo>
                      <a:pt x="17" y="92"/>
                    </a:lnTo>
                    <a:lnTo>
                      <a:pt x="16" y="90"/>
                    </a:lnTo>
                    <a:lnTo>
                      <a:pt x="16" y="92"/>
                    </a:lnTo>
                    <a:lnTo>
                      <a:pt x="16" y="94"/>
                    </a:lnTo>
                    <a:lnTo>
                      <a:pt x="13" y="95"/>
                    </a:lnTo>
                    <a:lnTo>
                      <a:pt x="11" y="96"/>
                    </a:lnTo>
                    <a:lnTo>
                      <a:pt x="10" y="96"/>
                    </a:lnTo>
                    <a:lnTo>
                      <a:pt x="10" y="98"/>
                    </a:lnTo>
                    <a:lnTo>
                      <a:pt x="10" y="99"/>
                    </a:lnTo>
                    <a:lnTo>
                      <a:pt x="8" y="100"/>
                    </a:lnTo>
                    <a:lnTo>
                      <a:pt x="7" y="101"/>
                    </a:lnTo>
                    <a:lnTo>
                      <a:pt x="6" y="100"/>
                    </a:lnTo>
                    <a:lnTo>
                      <a:pt x="6" y="101"/>
                    </a:lnTo>
                    <a:lnTo>
                      <a:pt x="7" y="104"/>
                    </a:lnTo>
                    <a:lnTo>
                      <a:pt x="7" y="105"/>
                    </a:lnTo>
                    <a:lnTo>
                      <a:pt x="5" y="107"/>
                    </a:lnTo>
                    <a:lnTo>
                      <a:pt x="4" y="108"/>
                    </a:lnTo>
                    <a:lnTo>
                      <a:pt x="1" y="110"/>
                    </a:lnTo>
                    <a:lnTo>
                      <a:pt x="0" y="111"/>
                    </a:lnTo>
                    <a:lnTo>
                      <a:pt x="1" y="112"/>
                    </a:lnTo>
                    <a:lnTo>
                      <a:pt x="2" y="113"/>
                    </a:lnTo>
                    <a:lnTo>
                      <a:pt x="4" y="114"/>
                    </a:lnTo>
                    <a:lnTo>
                      <a:pt x="5" y="116"/>
                    </a:lnTo>
                    <a:lnTo>
                      <a:pt x="7" y="117"/>
                    </a:lnTo>
                    <a:lnTo>
                      <a:pt x="10" y="118"/>
                    </a:lnTo>
                    <a:lnTo>
                      <a:pt x="11" y="118"/>
                    </a:lnTo>
                    <a:lnTo>
                      <a:pt x="13" y="118"/>
                    </a:lnTo>
                    <a:lnTo>
                      <a:pt x="14" y="118"/>
                    </a:lnTo>
                    <a:lnTo>
                      <a:pt x="16" y="119"/>
                    </a:lnTo>
                    <a:lnTo>
                      <a:pt x="17" y="120"/>
                    </a:lnTo>
                    <a:lnTo>
                      <a:pt x="18" y="123"/>
                    </a:lnTo>
                    <a:lnTo>
                      <a:pt x="18" y="124"/>
                    </a:lnTo>
                    <a:lnTo>
                      <a:pt x="19" y="125"/>
                    </a:lnTo>
                    <a:lnTo>
                      <a:pt x="19" y="124"/>
                    </a:lnTo>
                    <a:lnTo>
                      <a:pt x="20" y="124"/>
                    </a:lnTo>
                    <a:lnTo>
                      <a:pt x="20" y="123"/>
                    </a:lnTo>
                    <a:lnTo>
                      <a:pt x="22" y="122"/>
                    </a:lnTo>
                    <a:lnTo>
                      <a:pt x="22" y="120"/>
                    </a:lnTo>
                    <a:lnTo>
                      <a:pt x="23" y="120"/>
                    </a:lnTo>
                    <a:lnTo>
                      <a:pt x="24" y="120"/>
                    </a:lnTo>
                    <a:lnTo>
                      <a:pt x="26" y="120"/>
                    </a:lnTo>
                    <a:lnTo>
                      <a:pt x="26" y="122"/>
                    </a:lnTo>
                    <a:lnTo>
                      <a:pt x="28" y="122"/>
                    </a:lnTo>
                    <a:lnTo>
                      <a:pt x="29" y="122"/>
                    </a:lnTo>
                    <a:lnTo>
                      <a:pt x="30" y="123"/>
                    </a:lnTo>
                    <a:lnTo>
                      <a:pt x="31" y="123"/>
                    </a:lnTo>
                    <a:lnTo>
                      <a:pt x="32" y="123"/>
                    </a:lnTo>
                    <a:lnTo>
                      <a:pt x="34" y="122"/>
                    </a:lnTo>
                    <a:lnTo>
                      <a:pt x="35" y="122"/>
                    </a:lnTo>
                    <a:lnTo>
                      <a:pt x="36" y="122"/>
                    </a:lnTo>
                    <a:lnTo>
                      <a:pt x="36" y="123"/>
                    </a:lnTo>
                    <a:lnTo>
                      <a:pt x="36" y="124"/>
                    </a:lnTo>
                    <a:lnTo>
                      <a:pt x="36" y="125"/>
                    </a:lnTo>
                    <a:lnTo>
                      <a:pt x="36" y="126"/>
                    </a:lnTo>
                    <a:lnTo>
                      <a:pt x="37" y="128"/>
                    </a:lnTo>
                    <a:lnTo>
                      <a:pt x="37" y="129"/>
                    </a:lnTo>
                    <a:lnTo>
                      <a:pt x="38" y="130"/>
                    </a:lnTo>
                    <a:lnTo>
                      <a:pt x="38" y="131"/>
                    </a:lnTo>
                    <a:lnTo>
                      <a:pt x="38" y="132"/>
                    </a:lnTo>
                    <a:lnTo>
                      <a:pt x="37" y="134"/>
                    </a:lnTo>
                    <a:lnTo>
                      <a:pt x="37" y="135"/>
                    </a:lnTo>
                    <a:lnTo>
                      <a:pt x="37" y="136"/>
                    </a:lnTo>
                    <a:lnTo>
                      <a:pt x="37" y="137"/>
                    </a:lnTo>
                    <a:lnTo>
                      <a:pt x="36" y="138"/>
                    </a:lnTo>
                    <a:lnTo>
                      <a:pt x="37" y="140"/>
                    </a:lnTo>
                    <a:lnTo>
                      <a:pt x="37" y="141"/>
                    </a:lnTo>
                    <a:lnTo>
                      <a:pt x="37" y="142"/>
                    </a:lnTo>
                    <a:lnTo>
                      <a:pt x="36" y="143"/>
                    </a:lnTo>
                    <a:lnTo>
                      <a:pt x="36" y="144"/>
                    </a:lnTo>
                    <a:lnTo>
                      <a:pt x="36" y="146"/>
                    </a:lnTo>
                    <a:lnTo>
                      <a:pt x="36" y="147"/>
                    </a:lnTo>
                    <a:lnTo>
                      <a:pt x="35" y="147"/>
                    </a:lnTo>
                    <a:lnTo>
                      <a:pt x="36" y="148"/>
                    </a:lnTo>
                    <a:lnTo>
                      <a:pt x="35" y="148"/>
                    </a:lnTo>
                    <a:lnTo>
                      <a:pt x="35" y="149"/>
                    </a:lnTo>
                    <a:lnTo>
                      <a:pt x="34" y="150"/>
                    </a:lnTo>
                    <a:lnTo>
                      <a:pt x="34" y="152"/>
                    </a:lnTo>
                    <a:lnTo>
                      <a:pt x="32" y="152"/>
                    </a:lnTo>
                    <a:lnTo>
                      <a:pt x="31" y="152"/>
                    </a:lnTo>
                    <a:lnTo>
                      <a:pt x="30" y="153"/>
                    </a:lnTo>
                    <a:lnTo>
                      <a:pt x="30" y="154"/>
                    </a:lnTo>
                    <a:lnTo>
                      <a:pt x="31" y="155"/>
                    </a:lnTo>
                    <a:lnTo>
                      <a:pt x="31" y="156"/>
                    </a:lnTo>
                    <a:lnTo>
                      <a:pt x="32" y="158"/>
                    </a:lnTo>
                    <a:lnTo>
                      <a:pt x="34" y="158"/>
                    </a:lnTo>
                    <a:lnTo>
                      <a:pt x="35" y="159"/>
                    </a:lnTo>
                    <a:lnTo>
                      <a:pt x="36" y="159"/>
                    </a:lnTo>
                    <a:lnTo>
                      <a:pt x="35" y="160"/>
                    </a:lnTo>
                    <a:lnTo>
                      <a:pt x="35" y="161"/>
                    </a:lnTo>
                    <a:lnTo>
                      <a:pt x="34" y="162"/>
                    </a:lnTo>
                    <a:lnTo>
                      <a:pt x="34" y="164"/>
                    </a:lnTo>
                    <a:lnTo>
                      <a:pt x="34" y="165"/>
                    </a:lnTo>
                    <a:lnTo>
                      <a:pt x="32" y="166"/>
                    </a:lnTo>
                    <a:lnTo>
                      <a:pt x="31" y="167"/>
                    </a:lnTo>
                    <a:lnTo>
                      <a:pt x="31" y="168"/>
                    </a:lnTo>
                    <a:lnTo>
                      <a:pt x="31" y="170"/>
                    </a:lnTo>
                    <a:lnTo>
                      <a:pt x="32" y="171"/>
                    </a:lnTo>
                    <a:lnTo>
                      <a:pt x="32" y="170"/>
                    </a:lnTo>
                    <a:lnTo>
                      <a:pt x="34" y="171"/>
                    </a:lnTo>
                    <a:lnTo>
                      <a:pt x="35" y="170"/>
                    </a:lnTo>
                    <a:lnTo>
                      <a:pt x="35" y="168"/>
                    </a:lnTo>
                    <a:lnTo>
                      <a:pt x="37" y="168"/>
                    </a:lnTo>
                    <a:lnTo>
                      <a:pt x="38" y="170"/>
                    </a:lnTo>
                    <a:lnTo>
                      <a:pt x="40" y="168"/>
                    </a:lnTo>
                    <a:lnTo>
                      <a:pt x="41" y="168"/>
                    </a:lnTo>
                    <a:lnTo>
                      <a:pt x="42" y="168"/>
                    </a:lnTo>
                    <a:lnTo>
                      <a:pt x="42" y="170"/>
                    </a:lnTo>
                    <a:lnTo>
                      <a:pt x="43" y="170"/>
                    </a:lnTo>
                    <a:lnTo>
                      <a:pt x="46" y="170"/>
                    </a:lnTo>
                    <a:lnTo>
                      <a:pt x="46" y="168"/>
                    </a:lnTo>
                    <a:lnTo>
                      <a:pt x="47" y="168"/>
                    </a:lnTo>
                    <a:lnTo>
                      <a:pt x="47" y="170"/>
                    </a:lnTo>
                    <a:lnTo>
                      <a:pt x="48" y="170"/>
                    </a:lnTo>
                    <a:lnTo>
                      <a:pt x="49" y="170"/>
                    </a:lnTo>
                    <a:lnTo>
                      <a:pt x="49" y="168"/>
                    </a:lnTo>
                    <a:lnTo>
                      <a:pt x="49" y="167"/>
                    </a:lnTo>
                    <a:lnTo>
                      <a:pt x="50" y="166"/>
                    </a:lnTo>
                    <a:lnTo>
                      <a:pt x="50" y="165"/>
                    </a:lnTo>
                    <a:lnTo>
                      <a:pt x="52" y="165"/>
                    </a:lnTo>
                    <a:lnTo>
                      <a:pt x="53" y="165"/>
                    </a:lnTo>
                    <a:lnTo>
                      <a:pt x="54" y="164"/>
                    </a:lnTo>
                    <a:lnTo>
                      <a:pt x="55" y="164"/>
                    </a:lnTo>
                    <a:lnTo>
                      <a:pt x="56" y="162"/>
                    </a:lnTo>
                    <a:lnTo>
                      <a:pt x="56" y="161"/>
                    </a:lnTo>
                    <a:lnTo>
                      <a:pt x="58" y="161"/>
                    </a:lnTo>
                    <a:lnTo>
                      <a:pt x="59" y="159"/>
                    </a:lnTo>
                    <a:lnTo>
                      <a:pt x="60" y="159"/>
                    </a:lnTo>
                    <a:lnTo>
                      <a:pt x="61" y="158"/>
                    </a:lnTo>
                    <a:lnTo>
                      <a:pt x="62" y="156"/>
                    </a:lnTo>
                    <a:lnTo>
                      <a:pt x="64" y="158"/>
                    </a:lnTo>
                    <a:lnTo>
                      <a:pt x="65" y="158"/>
                    </a:lnTo>
                    <a:lnTo>
                      <a:pt x="65" y="159"/>
                    </a:lnTo>
                    <a:lnTo>
                      <a:pt x="66" y="159"/>
                    </a:lnTo>
                    <a:lnTo>
                      <a:pt x="66" y="160"/>
                    </a:lnTo>
                    <a:lnTo>
                      <a:pt x="66" y="161"/>
                    </a:lnTo>
                    <a:lnTo>
                      <a:pt x="67" y="161"/>
                    </a:lnTo>
                    <a:lnTo>
                      <a:pt x="67" y="162"/>
                    </a:lnTo>
                    <a:lnTo>
                      <a:pt x="67" y="164"/>
                    </a:lnTo>
                    <a:lnTo>
                      <a:pt x="67" y="165"/>
                    </a:lnTo>
                    <a:lnTo>
                      <a:pt x="67" y="166"/>
                    </a:lnTo>
                    <a:lnTo>
                      <a:pt x="67" y="167"/>
                    </a:lnTo>
                    <a:lnTo>
                      <a:pt x="67" y="168"/>
                    </a:lnTo>
                    <a:lnTo>
                      <a:pt x="67" y="170"/>
                    </a:lnTo>
                    <a:lnTo>
                      <a:pt x="67" y="171"/>
                    </a:lnTo>
                    <a:lnTo>
                      <a:pt x="68" y="173"/>
                    </a:lnTo>
                    <a:lnTo>
                      <a:pt x="70" y="173"/>
                    </a:lnTo>
                    <a:lnTo>
                      <a:pt x="70" y="174"/>
                    </a:lnTo>
                    <a:lnTo>
                      <a:pt x="71" y="176"/>
                    </a:lnTo>
                    <a:lnTo>
                      <a:pt x="71" y="177"/>
                    </a:lnTo>
                    <a:lnTo>
                      <a:pt x="72" y="177"/>
                    </a:lnTo>
                    <a:lnTo>
                      <a:pt x="72" y="178"/>
                    </a:lnTo>
                    <a:lnTo>
                      <a:pt x="71" y="179"/>
                    </a:lnTo>
                    <a:lnTo>
                      <a:pt x="73" y="180"/>
                    </a:lnTo>
                    <a:lnTo>
                      <a:pt x="74" y="180"/>
                    </a:lnTo>
                    <a:lnTo>
                      <a:pt x="73" y="182"/>
                    </a:lnTo>
                    <a:lnTo>
                      <a:pt x="73" y="183"/>
                    </a:lnTo>
                    <a:lnTo>
                      <a:pt x="73" y="184"/>
                    </a:lnTo>
                    <a:lnTo>
                      <a:pt x="74" y="185"/>
                    </a:lnTo>
                    <a:lnTo>
                      <a:pt x="76" y="186"/>
                    </a:lnTo>
                    <a:lnTo>
                      <a:pt x="76" y="188"/>
                    </a:lnTo>
                    <a:lnTo>
                      <a:pt x="77" y="188"/>
                    </a:lnTo>
                    <a:lnTo>
                      <a:pt x="78" y="189"/>
                    </a:lnTo>
                    <a:lnTo>
                      <a:pt x="79" y="190"/>
                    </a:lnTo>
                    <a:lnTo>
                      <a:pt x="78" y="190"/>
                    </a:lnTo>
                    <a:lnTo>
                      <a:pt x="78" y="191"/>
                    </a:lnTo>
                    <a:lnTo>
                      <a:pt x="78" y="192"/>
                    </a:lnTo>
                    <a:lnTo>
                      <a:pt x="78" y="194"/>
                    </a:lnTo>
                    <a:lnTo>
                      <a:pt x="79" y="194"/>
                    </a:lnTo>
                    <a:lnTo>
                      <a:pt x="80" y="194"/>
                    </a:lnTo>
                    <a:lnTo>
                      <a:pt x="80" y="195"/>
                    </a:lnTo>
                    <a:lnTo>
                      <a:pt x="80" y="196"/>
                    </a:lnTo>
                    <a:lnTo>
                      <a:pt x="80" y="197"/>
                    </a:lnTo>
                    <a:lnTo>
                      <a:pt x="80" y="198"/>
                    </a:lnTo>
                    <a:lnTo>
                      <a:pt x="82" y="198"/>
                    </a:lnTo>
                    <a:lnTo>
                      <a:pt x="83" y="198"/>
                    </a:lnTo>
                    <a:lnTo>
                      <a:pt x="83" y="200"/>
                    </a:lnTo>
                    <a:lnTo>
                      <a:pt x="84" y="201"/>
                    </a:lnTo>
                    <a:lnTo>
                      <a:pt x="85" y="201"/>
                    </a:lnTo>
                    <a:lnTo>
                      <a:pt x="86" y="201"/>
                    </a:lnTo>
                    <a:lnTo>
                      <a:pt x="88" y="200"/>
                    </a:lnTo>
                    <a:lnTo>
                      <a:pt x="88" y="198"/>
                    </a:lnTo>
                    <a:lnTo>
                      <a:pt x="89" y="197"/>
                    </a:lnTo>
                    <a:lnTo>
                      <a:pt x="89" y="196"/>
                    </a:lnTo>
                    <a:lnTo>
                      <a:pt x="90" y="196"/>
                    </a:lnTo>
                    <a:lnTo>
                      <a:pt x="90" y="197"/>
                    </a:lnTo>
                    <a:lnTo>
                      <a:pt x="91" y="197"/>
                    </a:lnTo>
                    <a:lnTo>
                      <a:pt x="91" y="196"/>
                    </a:lnTo>
                    <a:lnTo>
                      <a:pt x="92" y="196"/>
                    </a:lnTo>
                    <a:lnTo>
                      <a:pt x="94" y="195"/>
                    </a:lnTo>
                    <a:lnTo>
                      <a:pt x="94" y="194"/>
                    </a:lnTo>
                    <a:lnTo>
                      <a:pt x="95" y="194"/>
                    </a:lnTo>
                    <a:lnTo>
                      <a:pt x="95" y="192"/>
                    </a:lnTo>
                    <a:lnTo>
                      <a:pt x="96" y="192"/>
                    </a:lnTo>
                    <a:lnTo>
                      <a:pt x="96" y="191"/>
                    </a:lnTo>
                    <a:lnTo>
                      <a:pt x="97" y="190"/>
                    </a:lnTo>
                    <a:lnTo>
                      <a:pt x="98" y="190"/>
                    </a:lnTo>
                    <a:lnTo>
                      <a:pt x="98" y="189"/>
                    </a:lnTo>
                    <a:lnTo>
                      <a:pt x="100" y="190"/>
                    </a:lnTo>
                    <a:lnTo>
                      <a:pt x="100" y="191"/>
                    </a:lnTo>
                    <a:lnTo>
                      <a:pt x="100" y="192"/>
                    </a:lnTo>
                    <a:lnTo>
                      <a:pt x="100" y="194"/>
                    </a:lnTo>
                    <a:lnTo>
                      <a:pt x="101" y="194"/>
                    </a:lnTo>
                    <a:lnTo>
                      <a:pt x="102" y="195"/>
                    </a:lnTo>
                    <a:lnTo>
                      <a:pt x="103" y="195"/>
                    </a:lnTo>
                    <a:lnTo>
                      <a:pt x="103" y="196"/>
                    </a:lnTo>
                    <a:lnTo>
                      <a:pt x="103" y="197"/>
                    </a:lnTo>
                    <a:lnTo>
                      <a:pt x="103" y="198"/>
                    </a:lnTo>
                    <a:lnTo>
                      <a:pt x="103" y="200"/>
                    </a:lnTo>
                    <a:lnTo>
                      <a:pt x="104" y="200"/>
                    </a:lnTo>
                    <a:lnTo>
                      <a:pt x="106" y="200"/>
                    </a:lnTo>
                    <a:lnTo>
                      <a:pt x="107" y="198"/>
                    </a:lnTo>
                    <a:lnTo>
                      <a:pt x="108" y="198"/>
                    </a:lnTo>
                    <a:lnTo>
                      <a:pt x="109" y="198"/>
                    </a:lnTo>
                    <a:lnTo>
                      <a:pt x="109" y="197"/>
                    </a:lnTo>
                    <a:lnTo>
                      <a:pt x="110" y="198"/>
                    </a:lnTo>
                    <a:lnTo>
                      <a:pt x="112" y="198"/>
                    </a:lnTo>
                    <a:lnTo>
                      <a:pt x="113" y="197"/>
                    </a:lnTo>
                    <a:lnTo>
                      <a:pt x="114" y="197"/>
                    </a:lnTo>
                    <a:lnTo>
                      <a:pt x="115" y="197"/>
                    </a:lnTo>
                    <a:lnTo>
                      <a:pt x="116" y="196"/>
                    </a:lnTo>
                    <a:lnTo>
                      <a:pt x="118" y="196"/>
                    </a:lnTo>
                    <a:lnTo>
                      <a:pt x="119" y="196"/>
                    </a:lnTo>
                    <a:lnTo>
                      <a:pt x="119" y="195"/>
                    </a:lnTo>
                    <a:lnTo>
                      <a:pt x="119" y="194"/>
                    </a:lnTo>
                    <a:lnTo>
                      <a:pt x="120" y="194"/>
                    </a:lnTo>
                    <a:lnTo>
                      <a:pt x="120" y="192"/>
                    </a:lnTo>
                    <a:lnTo>
                      <a:pt x="121" y="191"/>
                    </a:lnTo>
                    <a:lnTo>
                      <a:pt x="122" y="191"/>
                    </a:lnTo>
                    <a:lnTo>
                      <a:pt x="124" y="191"/>
                    </a:lnTo>
                    <a:lnTo>
                      <a:pt x="125" y="191"/>
                    </a:lnTo>
                    <a:lnTo>
                      <a:pt x="126" y="190"/>
                    </a:lnTo>
                    <a:lnTo>
                      <a:pt x="126" y="189"/>
                    </a:lnTo>
                    <a:lnTo>
                      <a:pt x="127" y="188"/>
                    </a:lnTo>
                    <a:lnTo>
                      <a:pt x="128" y="188"/>
                    </a:lnTo>
                    <a:lnTo>
                      <a:pt x="128" y="186"/>
                    </a:lnTo>
                    <a:lnTo>
                      <a:pt x="130" y="185"/>
                    </a:lnTo>
                    <a:lnTo>
                      <a:pt x="131" y="185"/>
                    </a:lnTo>
                    <a:lnTo>
                      <a:pt x="131" y="184"/>
                    </a:lnTo>
                    <a:lnTo>
                      <a:pt x="132" y="184"/>
                    </a:lnTo>
                    <a:lnTo>
                      <a:pt x="133" y="184"/>
                    </a:lnTo>
                    <a:lnTo>
                      <a:pt x="133" y="183"/>
                    </a:lnTo>
                    <a:lnTo>
                      <a:pt x="134" y="183"/>
                    </a:lnTo>
                    <a:lnTo>
                      <a:pt x="136" y="183"/>
                    </a:lnTo>
                    <a:lnTo>
                      <a:pt x="136" y="182"/>
                    </a:lnTo>
                    <a:lnTo>
                      <a:pt x="137" y="180"/>
                    </a:lnTo>
                    <a:lnTo>
                      <a:pt x="138" y="180"/>
                    </a:lnTo>
                    <a:lnTo>
                      <a:pt x="138" y="179"/>
                    </a:lnTo>
                    <a:lnTo>
                      <a:pt x="138" y="178"/>
                    </a:lnTo>
                    <a:lnTo>
                      <a:pt x="138" y="177"/>
                    </a:lnTo>
                    <a:lnTo>
                      <a:pt x="139" y="177"/>
                    </a:lnTo>
                    <a:lnTo>
                      <a:pt x="140" y="177"/>
                    </a:lnTo>
                    <a:lnTo>
                      <a:pt x="142" y="177"/>
                    </a:lnTo>
                    <a:lnTo>
                      <a:pt x="142" y="178"/>
                    </a:lnTo>
                    <a:lnTo>
                      <a:pt x="143" y="178"/>
                    </a:lnTo>
                    <a:lnTo>
                      <a:pt x="143" y="179"/>
                    </a:lnTo>
                    <a:lnTo>
                      <a:pt x="143" y="180"/>
                    </a:lnTo>
                    <a:lnTo>
                      <a:pt x="144" y="182"/>
                    </a:lnTo>
                    <a:lnTo>
                      <a:pt x="144" y="183"/>
                    </a:lnTo>
                    <a:lnTo>
                      <a:pt x="145" y="184"/>
                    </a:lnTo>
                    <a:lnTo>
                      <a:pt x="146" y="184"/>
                    </a:lnTo>
                    <a:lnTo>
                      <a:pt x="148" y="185"/>
                    </a:lnTo>
                    <a:lnTo>
                      <a:pt x="149" y="186"/>
                    </a:lnTo>
                    <a:lnTo>
                      <a:pt x="150" y="185"/>
                    </a:lnTo>
                    <a:lnTo>
                      <a:pt x="150" y="186"/>
                    </a:lnTo>
                    <a:lnTo>
                      <a:pt x="151" y="185"/>
                    </a:lnTo>
                    <a:lnTo>
                      <a:pt x="152" y="185"/>
                    </a:lnTo>
                    <a:lnTo>
                      <a:pt x="154" y="185"/>
                    </a:lnTo>
                    <a:lnTo>
                      <a:pt x="155" y="185"/>
                    </a:lnTo>
                    <a:lnTo>
                      <a:pt x="155" y="184"/>
                    </a:lnTo>
                    <a:lnTo>
                      <a:pt x="156" y="184"/>
                    </a:lnTo>
                    <a:lnTo>
                      <a:pt x="156" y="183"/>
                    </a:lnTo>
                    <a:lnTo>
                      <a:pt x="157" y="182"/>
                    </a:lnTo>
                    <a:lnTo>
                      <a:pt x="157" y="180"/>
                    </a:lnTo>
                    <a:lnTo>
                      <a:pt x="157" y="179"/>
                    </a:lnTo>
                    <a:lnTo>
                      <a:pt x="158" y="179"/>
                    </a:lnTo>
                    <a:lnTo>
                      <a:pt x="160" y="178"/>
                    </a:lnTo>
                    <a:lnTo>
                      <a:pt x="160" y="179"/>
                    </a:lnTo>
                    <a:lnTo>
                      <a:pt x="161" y="179"/>
                    </a:lnTo>
                    <a:lnTo>
                      <a:pt x="160" y="180"/>
                    </a:lnTo>
                    <a:lnTo>
                      <a:pt x="160" y="182"/>
                    </a:lnTo>
                    <a:lnTo>
                      <a:pt x="160" y="183"/>
                    </a:lnTo>
                    <a:lnTo>
                      <a:pt x="161" y="183"/>
                    </a:lnTo>
                    <a:lnTo>
                      <a:pt x="161" y="184"/>
                    </a:lnTo>
                    <a:lnTo>
                      <a:pt x="161" y="185"/>
                    </a:lnTo>
                    <a:lnTo>
                      <a:pt x="162" y="185"/>
                    </a:lnTo>
                    <a:lnTo>
                      <a:pt x="162" y="186"/>
                    </a:lnTo>
                    <a:lnTo>
                      <a:pt x="161" y="186"/>
                    </a:lnTo>
                    <a:lnTo>
                      <a:pt x="161" y="188"/>
                    </a:lnTo>
                    <a:lnTo>
                      <a:pt x="161" y="189"/>
                    </a:lnTo>
                    <a:lnTo>
                      <a:pt x="161" y="190"/>
                    </a:lnTo>
                    <a:lnTo>
                      <a:pt x="162" y="190"/>
                    </a:lnTo>
                    <a:lnTo>
                      <a:pt x="161" y="191"/>
                    </a:lnTo>
                    <a:lnTo>
                      <a:pt x="162" y="192"/>
                    </a:lnTo>
                    <a:lnTo>
                      <a:pt x="162" y="194"/>
                    </a:lnTo>
                    <a:lnTo>
                      <a:pt x="161" y="195"/>
                    </a:lnTo>
                    <a:lnTo>
                      <a:pt x="161" y="196"/>
                    </a:lnTo>
                    <a:lnTo>
                      <a:pt x="161" y="197"/>
                    </a:lnTo>
                    <a:lnTo>
                      <a:pt x="161" y="198"/>
                    </a:lnTo>
                    <a:lnTo>
                      <a:pt x="162" y="198"/>
                    </a:lnTo>
                    <a:lnTo>
                      <a:pt x="163" y="200"/>
                    </a:lnTo>
                    <a:lnTo>
                      <a:pt x="164" y="200"/>
                    </a:lnTo>
                    <a:lnTo>
                      <a:pt x="166" y="201"/>
                    </a:lnTo>
                    <a:lnTo>
                      <a:pt x="166" y="202"/>
                    </a:lnTo>
                    <a:lnTo>
                      <a:pt x="167" y="202"/>
                    </a:lnTo>
                    <a:lnTo>
                      <a:pt x="167" y="203"/>
                    </a:lnTo>
                    <a:lnTo>
                      <a:pt x="167" y="204"/>
                    </a:lnTo>
                    <a:lnTo>
                      <a:pt x="168" y="204"/>
                    </a:lnTo>
                    <a:lnTo>
                      <a:pt x="169" y="204"/>
                    </a:lnTo>
                    <a:lnTo>
                      <a:pt x="170" y="206"/>
                    </a:lnTo>
                    <a:lnTo>
                      <a:pt x="172" y="206"/>
                    </a:lnTo>
                    <a:lnTo>
                      <a:pt x="172" y="204"/>
                    </a:lnTo>
                    <a:lnTo>
                      <a:pt x="173" y="204"/>
                    </a:lnTo>
                    <a:lnTo>
                      <a:pt x="174" y="204"/>
                    </a:lnTo>
                    <a:lnTo>
                      <a:pt x="175" y="204"/>
                    </a:lnTo>
                    <a:lnTo>
                      <a:pt x="176" y="204"/>
                    </a:lnTo>
                    <a:lnTo>
                      <a:pt x="178" y="206"/>
                    </a:lnTo>
                    <a:lnTo>
                      <a:pt x="179" y="206"/>
                    </a:lnTo>
                    <a:lnTo>
                      <a:pt x="180" y="204"/>
                    </a:lnTo>
                    <a:lnTo>
                      <a:pt x="181" y="204"/>
                    </a:lnTo>
                    <a:lnTo>
                      <a:pt x="182" y="204"/>
                    </a:lnTo>
                    <a:lnTo>
                      <a:pt x="182" y="203"/>
                    </a:lnTo>
                    <a:lnTo>
                      <a:pt x="182" y="201"/>
                    </a:lnTo>
                    <a:lnTo>
                      <a:pt x="184" y="200"/>
                    </a:lnTo>
                    <a:lnTo>
                      <a:pt x="184" y="198"/>
                    </a:lnTo>
                    <a:lnTo>
                      <a:pt x="182" y="198"/>
                    </a:lnTo>
                    <a:lnTo>
                      <a:pt x="182" y="197"/>
                    </a:lnTo>
                    <a:lnTo>
                      <a:pt x="182" y="196"/>
                    </a:lnTo>
                    <a:lnTo>
                      <a:pt x="184" y="195"/>
                    </a:lnTo>
                    <a:lnTo>
                      <a:pt x="184" y="196"/>
                    </a:lnTo>
                    <a:lnTo>
                      <a:pt x="185" y="196"/>
                    </a:lnTo>
                    <a:lnTo>
                      <a:pt x="186" y="197"/>
                    </a:lnTo>
                    <a:lnTo>
                      <a:pt x="187" y="197"/>
                    </a:lnTo>
                    <a:lnTo>
                      <a:pt x="188" y="197"/>
                    </a:lnTo>
                    <a:lnTo>
                      <a:pt x="191" y="195"/>
                    </a:lnTo>
                    <a:lnTo>
                      <a:pt x="192" y="195"/>
                    </a:lnTo>
                    <a:lnTo>
                      <a:pt x="192" y="194"/>
                    </a:lnTo>
                    <a:lnTo>
                      <a:pt x="192" y="191"/>
                    </a:lnTo>
                    <a:lnTo>
                      <a:pt x="193" y="191"/>
                    </a:lnTo>
                    <a:lnTo>
                      <a:pt x="193" y="190"/>
                    </a:lnTo>
                    <a:lnTo>
                      <a:pt x="193" y="189"/>
                    </a:lnTo>
                    <a:lnTo>
                      <a:pt x="194" y="189"/>
                    </a:lnTo>
                    <a:lnTo>
                      <a:pt x="194" y="188"/>
                    </a:lnTo>
                    <a:lnTo>
                      <a:pt x="196" y="186"/>
                    </a:lnTo>
                    <a:lnTo>
                      <a:pt x="196" y="185"/>
                    </a:lnTo>
                    <a:lnTo>
                      <a:pt x="197" y="184"/>
                    </a:lnTo>
                    <a:lnTo>
                      <a:pt x="197" y="183"/>
                    </a:lnTo>
                    <a:lnTo>
                      <a:pt x="198" y="182"/>
                    </a:lnTo>
                  </a:path>
                </a:pathLst>
              </a:custGeom>
              <a:solidFill>
                <a:srgbClr val="EAEAEA"/>
              </a:solidFill>
              <a:ln w="9525" cmpd="sng">
                <a:solidFill>
                  <a:srgbClr val="777777"/>
                </a:solidFill>
                <a:prstDash val="solid"/>
                <a:round/>
                <a:headEnd/>
                <a:tailEnd/>
              </a:ln>
              <a:effectLst>
                <a:outerShdw dist="107763" dir="2700000" algn="ctr" rotWithShape="0">
                  <a:srgbClr val="808080">
                    <a:alpha val="50000"/>
                  </a:srgbClr>
                </a:outerShdw>
              </a:effectLst>
            </p:spPr>
            <p:txBody>
              <a:bodyPr/>
              <a:lstStyle/>
              <a:p>
                <a:pPr latinLnBrk="0">
                  <a:defRPr/>
                </a:pPr>
                <a:endParaRPr kumimoji="0" lang="ko-KR" altLang="en-US" dirty="0">
                  <a:ea typeface="+mn-ea"/>
                </a:endParaRPr>
              </a:p>
            </p:txBody>
          </p:sp>
          <p:sp>
            <p:nvSpPr>
              <p:cNvPr id="28" name="Freeform 13"/>
              <p:cNvSpPr>
                <a:spLocks/>
              </p:cNvSpPr>
              <p:nvPr/>
            </p:nvSpPr>
            <p:spPr bwMode="auto">
              <a:xfrm>
                <a:off x="3315634" y="2802028"/>
                <a:ext cx="80662" cy="171467"/>
              </a:xfrm>
              <a:custGeom>
                <a:avLst/>
                <a:gdLst/>
                <a:ahLst/>
                <a:cxnLst>
                  <a:cxn ang="0">
                    <a:pos x="8" y="153"/>
                  </a:cxn>
                  <a:cxn ang="0">
                    <a:pos x="10" y="155"/>
                  </a:cxn>
                  <a:cxn ang="0">
                    <a:pos x="15" y="157"/>
                  </a:cxn>
                  <a:cxn ang="0">
                    <a:pos x="17" y="153"/>
                  </a:cxn>
                  <a:cxn ang="0">
                    <a:pos x="21" y="150"/>
                  </a:cxn>
                  <a:cxn ang="0">
                    <a:pos x="26" y="150"/>
                  </a:cxn>
                  <a:cxn ang="0">
                    <a:pos x="26" y="147"/>
                  </a:cxn>
                  <a:cxn ang="0">
                    <a:pos x="24" y="144"/>
                  </a:cxn>
                  <a:cxn ang="0">
                    <a:pos x="29" y="145"/>
                  </a:cxn>
                  <a:cxn ang="0">
                    <a:pos x="34" y="140"/>
                  </a:cxn>
                  <a:cxn ang="0">
                    <a:pos x="36" y="137"/>
                  </a:cxn>
                  <a:cxn ang="0">
                    <a:pos x="41" y="131"/>
                  </a:cxn>
                  <a:cxn ang="0">
                    <a:pos x="42" y="125"/>
                  </a:cxn>
                  <a:cxn ang="0">
                    <a:pos x="38" y="123"/>
                  </a:cxn>
                  <a:cxn ang="0">
                    <a:pos x="34" y="123"/>
                  </a:cxn>
                  <a:cxn ang="0">
                    <a:pos x="30" y="119"/>
                  </a:cxn>
                  <a:cxn ang="0">
                    <a:pos x="33" y="114"/>
                  </a:cxn>
                  <a:cxn ang="0">
                    <a:pos x="34" y="109"/>
                  </a:cxn>
                  <a:cxn ang="0">
                    <a:pos x="36" y="105"/>
                  </a:cxn>
                  <a:cxn ang="0">
                    <a:pos x="38" y="102"/>
                  </a:cxn>
                  <a:cxn ang="0">
                    <a:pos x="39" y="98"/>
                  </a:cxn>
                  <a:cxn ang="0">
                    <a:pos x="41" y="96"/>
                  </a:cxn>
                  <a:cxn ang="0">
                    <a:pos x="44" y="93"/>
                  </a:cxn>
                  <a:cxn ang="0">
                    <a:pos x="48" y="91"/>
                  </a:cxn>
                  <a:cxn ang="0">
                    <a:pos x="53" y="91"/>
                  </a:cxn>
                  <a:cxn ang="0">
                    <a:pos x="56" y="91"/>
                  </a:cxn>
                  <a:cxn ang="0">
                    <a:pos x="56" y="89"/>
                  </a:cxn>
                  <a:cxn ang="0">
                    <a:pos x="53" y="73"/>
                  </a:cxn>
                  <a:cxn ang="0">
                    <a:pos x="45" y="67"/>
                  </a:cxn>
                  <a:cxn ang="0">
                    <a:pos x="41" y="71"/>
                  </a:cxn>
                  <a:cxn ang="0">
                    <a:pos x="36" y="73"/>
                  </a:cxn>
                  <a:cxn ang="0">
                    <a:pos x="28" y="75"/>
                  </a:cxn>
                  <a:cxn ang="0">
                    <a:pos x="24" y="77"/>
                  </a:cxn>
                  <a:cxn ang="0">
                    <a:pos x="20" y="78"/>
                  </a:cxn>
                  <a:cxn ang="0">
                    <a:pos x="16" y="80"/>
                  </a:cxn>
                  <a:cxn ang="0">
                    <a:pos x="14" y="81"/>
                  </a:cxn>
                  <a:cxn ang="0">
                    <a:pos x="9" y="83"/>
                  </a:cxn>
                  <a:cxn ang="0">
                    <a:pos x="6" y="80"/>
                  </a:cxn>
                  <a:cxn ang="0">
                    <a:pos x="8" y="75"/>
                  </a:cxn>
                  <a:cxn ang="0">
                    <a:pos x="6" y="72"/>
                  </a:cxn>
                  <a:cxn ang="0">
                    <a:pos x="8" y="68"/>
                  </a:cxn>
                  <a:cxn ang="0">
                    <a:pos x="10" y="63"/>
                  </a:cxn>
                  <a:cxn ang="0">
                    <a:pos x="11" y="61"/>
                  </a:cxn>
                  <a:cxn ang="0">
                    <a:pos x="14" y="57"/>
                  </a:cxn>
                  <a:cxn ang="0">
                    <a:pos x="15" y="54"/>
                  </a:cxn>
                  <a:cxn ang="0">
                    <a:pos x="15" y="49"/>
                  </a:cxn>
                  <a:cxn ang="0">
                    <a:pos x="16" y="44"/>
                  </a:cxn>
                  <a:cxn ang="0">
                    <a:pos x="17" y="39"/>
                  </a:cxn>
                  <a:cxn ang="0">
                    <a:pos x="16" y="35"/>
                  </a:cxn>
                  <a:cxn ang="0">
                    <a:pos x="10" y="35"/>
                  </a:cxn>
                  <a:cxn ang="0">
                    <a:pos x="9" y="31"/>
                  </a:cxn>
                  <a:cxn ang="0">
                    <a:pos x="14" y="26"/>
                  </a:cxn>
                  <a:cxn ang="0">
                    <a:pos x="12" y="19"/>
                  </a:cxn>
                  <a:cxn ang="0">
                    <a:pos x="8" y="17"/>
                  </a:cxn>
                  <a:cxn ang="0">
                    <a:pos x="3" y="15"/>
                  </a:cxn>
                  <a:cxn ang="0">
                    <a:pos x="2" y="12"/>
                  </a:cxn>
                  <a:cxn ang="0">
                    <a:pos x="2" y="7"/>
                  </a:cxn>
                  <a:cxn ang="0">
                    <a:pos x="2" y="3"/>
                  </a:cxn>
                  <a:cxn ang="0">
                    <a:pos x="2" y="1"/>
                  </a:cxn>
                </a:cxnLst>
                <a:rect l="0" t="0" r="r" b="b"/>
                <a:pathLst>
                  <a:path w="57" h="157">
                    <a:moveTo>
                      <a:pt x="4" y="155"/>
                    </a:moveTo>
                    <a:lnTo>
                      <a:pt x="5" y="155"/>
                    </a:lnTo>
                    <a:lnTo>
                      <a:pt x="6" y="153"/>
                    </a:lnTo>
                    <a:lnTo>
                      <a:pt x="8" y="153"/>
                    </a:lnTo>
                    <a:lnTo>
                      <a:pt x="9" y="153"/>
                    </a:lnTo>
                    <a:lnTo>
                      <a:pt x="9" y="155"/>
                    </a:lnTo>
                    <a:lnTo>
                      <a:pt x="9" y="153"/>
                    </a:lnTo>
                    <a:lnTo>
                      <a:pt x="10" y="155"/>
                    </a:lnTo>
                    <a:lnTo>
                      <a:pt x="11" y="155"/>
                    </a:lnTo>
                    <a:lnTo>
                      <a:pt x="12" y="156"/>
                    </a:lnTo>
                    <a:lnTo>
                      <a:pt x="15" y="156"/>
                    </a:lnTo>
                    <a:lnTo>
                      <a:pt x="15" y="157"/>
                    </a:lnTo>
                    <a:lnTo>
                      <a:pt x="16" y="157"/>
                    </a:lnTo>
                    <a:lnTo>
                      <a:pt x="16" y="156"/>
                    </a:lnTo>
                    <a:lnTo>
                      <a:pt x="17" y="155"/>
                    </a:lnTo>
                    <a:lnTo>
                      <a:pt x="17" y="153"/>
                    </a:lnTo>
                    <a:lnTo>
                      <a:pt x="18" y="152"/>
                    </a:lnTo>
                    <a:lnTo>
                      <a:pt x="20" y="151"/>
                    </a:lnTo>
                    <a:lnTo>
                      <a:pt x="20" y="150"/>
                    </a:lnTo>
                    <a:lnTo>
                      <a:pt x="21" y="150"/>
                    </a:lnTo>
                    <a:lnTo>
                      <a:pt x="22" y="150"/>
                    </a:lnTo>
                    <a:lnTo>
                      <a:pt x="23" y="150"/>
                    </a:lnTo>
                    <a:lnTo>
                      <a:pt x="24" y="150"/>
                    </a:lnTo>
                    <a:lnTo>
                      <a:pt x="26" y="150"/>
                    </a:lnTo>
                    <a:lnTo>
                      <a:pt x="26" y="149"/>
                    </a:lnTo>
                    <a:lnTo>
                      <a:pt x="27" y="149"/>
                    </a:lnTo>
                    <a:lnTo>
                      <a:pt x="27" y="147"/>
                    </a:lnTo>
                    <a:lnTo>
                      <a:pt x="26" y="147"/>
                    </a:lnTo>
                    <a:lnTo>
                      <a:pt x="24" y="147"/>
                    </a:lnTo>
                    <a:lnTo>
                      <a:pt x="24" y="146"/>
                    </a:lnTo>
                    <a:lnTo>
                      <a:pt x="24" y="145"/>
                    </a:lnTo>
                    <a:lnTo>
                      <a:pt x="24" y="144"/>
                    </a:lnTo>
                    <a:lnTo>
                      <a:pt x="26" y="144"/>
                    </a:lnTo>
                    <a:lnTo>
                      <a:pt x="27" y="144"/>
                    </a:lnTo>
                    <a:lnTo>
                      <a:pt x="28" y="145"/>
                    </a:lnTo>
                    <a:lnTo>
                      <a:pt x="29" y="145"/>
                    </a:lnTo>
                    <a:lnTo>
                      <a:pt x="30" y="144"/>
                    </a:lnTo>
                    <a:lnTo>
                      <a:pt x="32" y="144"/>
                    </a:lnTo>
                    <a:lnTo>
                      <a:pt x="33" y="143"/>
                    </a:lnTo>
                    <a:lnTo>
                      <a:pt x="34" y="140"/>
                    </a:lnTo>
                    <a:lnTo>
                      <a:pt x="36" y="140"/>
                    </a:lnTo>
                    <a:lnTo>
                      <a:pt x="36" y="139"/>
                    </a:lnTo>
                    <a:lnTo>
                      <a:pt x="36" y="138"/>
                    </a:lnTo>
                    <a:lnTo>
                      <a:pt x="36" y="137"/>
                    </a:lnTo>
                    <a:lnTo>
                      <a:pt x="38" y="135"/>
                    </a:lnTo>
                    <a:lnTo>
                      <a:pt x="39" y="134"/>
                    </a:lnTo>
                    <a:lnTo>
                      <a:pt x="40" y="132"/>
                    </a:lnTo>
                    <a:lnTo>
                      <a:pt x="41" y="131"/>
                    </a:lnTo>
                    <a:lnTo>
                      <a:pt x="41" y="129"/>
                    </a:lnTo>
                    <a:lnTo>
                      <a:pt x="42" y="128"/>
                    </a:lnTo>
                    <a:lnTo>
                      <a:pt x="42" y="127"/>
                    </a:lnTo>
                    <a:lnTo>
                      <a:pt x="42" y="125"/>
                    </a:lnTo>
                    <a:lnTo>
                      <a:pt x="41" y="123"/>
                    </a:lnTo>
                    <a:lnTo>
                      <a:pt x="40" y="123"/>
                    </a:lnTo>
                    <a:lnTo>
                      <a:pt x="39" y="123"/>
                    </a:lnTo>
                    <a:lnTo>
                      <a:pt x="38" y="123"/>
                    </a:lnTo>
                    <a:lnTo>
                      <a:pt x="36" y="122"/>
                    </a:lnTo>
                    <a:lnTo>
                      <a:pt x="35" y="122"/>
                    </a:lnTo>
                    <a:lnTo>
                      <a:pt x="35" y="123"/>
                    </a:lnTo>
                    <a:lnTo>
                      <a:pt x="34" y="123"/>
                    </a:lnTo>
                    <a:lnTo>
                      <a:pt x="34" y="122"/>
                    </a:lnTo>
                    <a:lnTo>
                      <a:pt x="33" y="122"/>
                    </a:lnTo>
                    <a:lnTo>
                      <a:pt x="30" y="120"/>
                    </a:lnTo>
                    <a:lnTo>
                      <a:pt x="30" y="119"/>
                    </a:lnTo>
                    <a:lnTo>
                      <a:pt x="30" y="117"/>
                    </a:lnTo>
                    <a:lnTo>
                      <a:pt x="32" y="116"/>
                    </a:lnTo>
                    <a:lnTo>
                      <a:pt x="32" y="115"/>
                    </a:lnTo>
                    <a:lnTo>
                      <a:pt x="33" y="114"/>
                    </a:lnTo>
                    <a:lnTo>
                      <a:pt x="33" y="113"/>
                    </a:lnTo>
                    <a:lnTo>
                      <a:pt x="34" y="111"/>
                    </a:lnTo>
                    <a:lnTo>
                      <a:pt x="34" y="110"/>
                    </a:lnTo>
                    <a:lnTo>
                      <a:pt x="34" y="109"/>
                    </a:lnTo>
                    <a:lnTo>
                      <a:pt x="34" y="108"/>
                    </a:lnTo>
                    <a:lnTo>
                      <a:pt x="35" y="108"/>
                    </a:lnTo>
                    <a:lnTo>
                      <a:pt x="36" y="107"/>
                    </a:lnTo>
                    <a:lnTo>
                      <a:pt x="36" y="105"/>
                    </a:lnTo>
                    <a:lnTo>
                      <a:pt x="38" y="105"/>
                    </a:lnTo>
                    <a:lnTo>
                      <a:pt x="38" y="104"/>
                    </a:lnTo>
                    <a:lnTo>
                      <a:pt x="38" y="103"/>
                    </a:lnTo>
                    <a:lnTo>
                      <a:pt x="38" y="102"/>
                    </a:lnTo>
                    <a:lnTo>
                      <a:pt x="38" y="101"/>
                    </a:lnTo>
                    <a:lnTo>
                      <a:pt x="38" y="99"/>
                    </a:lnTo>
                    <a:lnTo>
                      <a:pt x="39" y="99"/>
                    </a:lnTo>
                    <a:lnTo>
                      <a:pt x="39" y="98"/>
                    </a:lnTo>
                    <a:lnTo>
                      <a:pt x="40" y="98"/>
                    </a:lnTo>
                    <a:lnTo>
                      <a:pt x="40" y="97"/>
                    </a:lnTo>
                    <a:lnTo>
                      <a:pt x="41" y="97"/>
                    </a:lnTo>
                    <a:lnTo>
                      <a:pt x="41" y="96"/>
                    </a:lnTo>
                    <a:lnTo>
                      <a:pt x="41" y="95"/>
                    </a:lnTo>
                    <a:lnTo>
                      <a:pt x="42" y="95"/>
                    </a:lnTo>
                    <a:lnTo>
                      <a:pt x="42" y="93"/>
                    </a:lnTo>
                    <a:lnTo>
                      <a:pt x="44" y="93"/>
                    </a:lnTo>
                    <a:lnTo>
                      <a:pt x="44" y="92"/>
                    </a:lnTo>
                    <a:lnTo>
                      <a:pt x="45" y="92"/>
                    </a:lnTo>
                    <a:lnTo>
                      <a:pt x="47" y="92"/>
                    </a:lnTo>
                    <a:lnTo>
                      <a:pt x="48" y="91"/>
                    </a:lnTo>
                    <a:lnTo>
                      <a:pt x="50" y="91"/>
                    </a:lnTo>
                    <a:lnTo>
                      <a:pt x="51" y="91"/>
                    </a:lnTo>
                    <a:lnTo>
                      <a:pt x="52" y="91"/>
                    </a:lnTo>
                    <a:lnTo>
                      <a:pt x="53" y="91"/>
                    </a:lnTo>
                    <a:lnTo>
                      <a:pt x="53" y="90"/>
                    </a:lnTo>
                    <a:lnTo>
                      <a:pt x="54" y="90"/>
                    </a:lnTo>
                    <a:lnTo>
                      <a:pt x="56" y="90"/>
                    </a:lnTo>
                    <a:lnTo>
                      <a:pt x="56" y="91"/>
                    </a:lnTo>
                    <a:lnTo>
                      <a:pt x="57" y="91"/>
                    </a:lnTo>
                    <a:lnTo>
                      <a:pt x="57" y="90"/>
                    </a:lnTo>
                    <a:lnTo>
                      <a:pt x="56" y="90"/>
                    </a:lnTo>
                    <a:lnTo>
                      <a:pt x="56" y="89"/>
                    </a:lnTo>
                    <a:lnTo>
                      <a:pt x="56" y="87"/>
                    </a:lnTo>
                    <a:lnTo>
                      <a:pt x="54" y="84"/>
                    </a:lnTo>
                    <a:lnTo>
                      <a:pt x="54" y="79"/>
                    </a:lnTo>
                    <a:lnTo>
                      <a:pt x="53" y="73"/>
                    </a:lnTo>
                    <a:lnTo>
                      <a:pt x="52" y="71"/>
                    </a:lnTo>
                    <a:lnTo>
                      <a:pt x="50" y="66"/>
                    </a:lnTo>
                    <a:lnTo>
                      <a:pt x="47" y="66"/>
                    </a:lnTo>
                    <a:lnTo>
                      <a:pt x="45" y="67"/>
                    </a:lnTo>
                    <a:lnTo>
                      <a:pt x="44" y="68"/>
                    </a:lnTo>
                    <a:lnTo>
                      <a:pt x="42" y="68"/>
                    </a:lnTo>
                    <a:lnTo>
                      <a:pt x="42" y="69"/>
                    </a:lnTo>
                    <a:lnTo>
                      <a:pt x="41" y="71"/>
                    </a:lnTo>
                    <a:lnTo>
                      <a:pt x="40" y="71"/>
                    </a:lnTo>
                    <a:lnTo>
                      <a:pt x="39" y="72"/>
                    </a:lnTo>
                    <a:lnTo>
                      <a:pt x="38" y="73"/>
                    </a:lnTo>
                    <a:lnTo>
                      <a:pt x="36" y="73"/>
                    </a:lnTo>
                    <a:lnTo>
                      <a:pt x="34" y="73"/>
                    </a:lnTo>
                    <a:lnTo>
                      <a:pt x="30" y="74"/>
                    </a:lnTo>
                    <a:lnTo>
                      <a:pt x="29" y="74"/>
                    </a:lnTo>
                    <a:lnTo>
                      <a:pt x="28" y="75"/>
                    </a:lnTo>
                    <a:lnTo>
                      <a:pt x="27" y="75"/>
                    </a:lnTo>
                    <a:lnTo>
                      <a:pt x="26" y="75"/>
                    </a:lnTo>
                    <a:lnTo>
                      <a:pt x="24" y="75"/>
                    </a:lnTo>
                    <a:lnTo>
                      <a:pt x="24" y="77"/>
                    </a:lnTo>
                    <a:lnTo>
                      <a:pt x="23" y="77"/>
                    </a:lnTo>
                    <a:lnTo>
                      <a:pt x="22" y="77"/>
                    </a:lnTo>
                    <a:lnTo>
                      <a:pt x="21" y="78"/>
                    </a:lnTo>
                    <a:lnTo>
                      <a:pt x="20" y="78"/>
                    </a:lnTo>
                    <a:lnTo>
                      <a:pt x="20" y="79"/>
                    </a:lnTo>
                    <a:lnTo>
                      <a:pt x="18" y="79"/>
                    </a:lnTo>
                    <a:lnTo>
                      <a:pt x="17" y="80"/>
                    </a:lnTo>
                    <a:lnTo>
                      <a:pt x="16" y="80"/>
                    </a:lnTo>
                    <a:lnTo>
                      <a:pt x="16" y="81"/>
                    </a:lnTo>
                    <a:lnTo>
                      <a:pt x="15" y="83"/>
                    </a:lnTo>
                    <a:lnTo>
                      <a:pt x="14" y="83"/>
                    </a:lnTo>
                    <a:lnTo>
                      <a:pt x="14" y="81"/>
                    </a:lnTo>
                    <a:lnTo>
                      <a:pt x="12" y="81"/>
                    </a:lnTo>
                    <a:lnTo>
                      <a:pt x="11" y="81"/>
                    </a:lnTo>
                    <a:lnTo>
                      <a:pt x="10" y="81"/>
                    </a:lnTo>
                    <a:lnTo>
                      <a:pt x="9" y="83"/>
                    </a:lnTo>
                    <a:lnTo>
                      <a:pt x="8" y="83"/>
                    </a:lnTo>
                    <a:lnTo>
                      <a:pt x="6" y="83"/>
                    </a:lnTo>
                    <a:lnTo>
                      <a:pt x="6" y="81"/>
                    </a:lnTo>
                    <a:lnTo>
                      <a:pt x="6" y="80"/>
                    </a:lnTo>
                    <a:lnTo>
                      <a:pt x="6" y="79"/>
                    </a:lnTo>
                    <a:lnTo>
                      <a:pt x="6" y="78"/>
                    </a:lnTo>
                    <a:lnTo>
                      <a:pt x="6" y="77"/>
                    </a:lnTo>
                    <a:lnTo>
                      <a:pt x="8" y="75"/>
                    </a:lnTo>
                    <a:lnTo>
                      <a:pt x="8" y="74"/>
                    </a:lnTo>
                    <a:lnTo>
                      <a:pt x="8" y="73"/>
                    </a:lnTo>
                    <a:lnTo>
                      <a:pt x="8" y="72"/>
                    </a:lnTo>
                    <a:lnTo>
                      <a:pt x="6" y="72"/>
                    </a:lnTo>
                    <a:lnTo>
                      <a:pt x="6" y="71"/>
                    </a:lnTo>
                    <a:lnTo>
                      <a:pt x="6" y="69"/>
                    </a:lnTo>
                    <a:lnTo>
                      <a:pt x="6" y="68"/>
                    </a:lnTo>
                    <a:lnTo>
                      <a:pt x="8" y="68"/>
                    </a:lnTo>
                    <a:lnTo>
                      <a:pt x="8" y="67"/>
                    </a:lnTo>
                    <a:lnTo>
                      <a:pt x="8" y="66"/>
                    </a:lnTo>
                    <a:lnTo>
                      <a:pt x="9" y="65"/>
                    </a:lnTo>
                    <a:lnTo>
                      <a:pt x="10" y="63"/>
                    </a:lnTo>
                    <a:lnTo>
                      <a:pt x="11" y="62"/>
                    </a:lnTo>
                    <a:lnTo>
                      <a:pt x="11" y="61"/>
                    </a:lnTo>
                    <a:lnTo>
                      <a:pt x="11" y="62"/>
                    </a:lnTo>
                    <a:lnTo>
                      <a:pt x="11" y="61"/>
                    </a:lnTo>
                    <a:lnTo>
                      <a:pt x="12" y="61"/>
                    </a:lnTo>
                    <a:lnTo>
                      <a:pt x="12" y="59"/>
                    </a:lnTo>
                    <a:lnTo>
                      <a:pt x="14" y="59"/>
                    </a:lnTo>
                    <a:lnTo>
                      <a:pt x="14" y="57"/>
                    </a:lnTo>
                    <a:lnTo>
                      <a:pt x="14" y="56"/>
                    </a:lnTo>
                    <a:lnTo>
                      <a:pt x="15" y="56"/>
                    </a:lnTo>
                    <a:lnTo>
                      <a:pt x="15" y="55"/>
                    </a:lnTo>
                    <a:lnTo>
                      <a:pt x="15" y="54"/>
                    </a:lnTo>
                    <a:lnTo>
                      <a:pt x="15" y="53"/>
                    </a:lnTo>
                    <a:lnTo>
                      <a:pt x="15" y="51"/>
                    </a:lnTo>
                    <a:lnTo>
                      <a:pt x="15" y="50"/>
                    </a:lnTo>
                    <a:lnTo>
                      <a:pt x="15" y="49"/>
                    </a:lnTo>
                    <a:lnTo>
                      <a:pt x="16" y="48"/>
                    </a:lnTo>
                    <a:lnTo>
                      <a:pt x="16" y="47"/>
                    </a:lnTo>
                    <a:lnTo>
                      <a:pt x="16" y="45"/>
                    </a:lnTo>
                    <a:lnTo>
                      <a:pt x="16" y="44"/>
                    </a:lnTo>
                    <a:lnTo>
                      <a:pt x="17" y="43"/>
                    </a:lnTo>
                    <a:lnTo>
                      <a:pt x="17" y="42"/>
                    </a:lnTo>
                    <a:lnTo>
                      <a:pt x="17" y="41"/>
                    </a:lnTo>
                    <a:lnTo>
                      <a:pt x="17" y="39"/>
                    </a:lnTo>
                    <a:lnTo>
                      <a:pt x="17" y="38"/>
                    </a:lnTo>
                    <a:lnTo>
                      <a:pt x="17" y="37"/>
                    </a:lnTo>
                    <a:lnTo>
                      <a:pt x="16" y="36"/>
                    </a:lnTo>
                    <a:lnTo>
                      <a:pt x="16" y="35"/>
                    </a:lnTo>
                    <a:lnTo>
                      <a:pt x="14" y="35"/>
                    </a:lnTo>
                    <a:lnTo>
                      <a:pt x="12" y="35"/>
                    </a:lnTo>
                    <a:lnTo>
                      <a:pt x="11" y="33"/>
                    </a:lnTo>
                    <a:lnTo>
                      <a:pt x="10" y="35"/>
                    </a:lnTo>
                    <a:lnTo>
                      <a:pt x="9" y="35"/>
                    </a:lnTo>
                    <a:lnTo>
                      <a:pt x="9" y="33"/>
                    </a:lnTo>
                    <a:lnTo>
                      <a:pt x="9" y="32"/>
                    </a:lnTo>
                    <a:lnTo>
                      <a:pt x="9" y="31"/>
                    </a:lnTo>
                    <a:lnTo>
                      <a:pt x="10" y="30"/>
                    </a:lnTo>
                    <a:lnTo>
                      <a:pt x="10" y="29"/>
                    </a:lnTo>
                    <a:lnTo>
                      <a:pt x="12" y="27"/>
                    </a:lnTo>
                    <a:lnTo>
                      <a:pt x="14" y="26"/>
                    </a:lnTo>
                    <a:lnTo>
                      <a:pt x="14" y="24"/>
                    </a:lnTo>
                    <a:lnTo>
                      <a:pt x="14" y="23"/>
                    </a:lnTo>
                    <a:lnTo>
                      <a:pt x="14" y="21"/>
                    </a:lnTo>
                    <a:lnTo>
                      <a:pt x="12" y="19"/>
                    </a:lnTo>
                    <a:lnTo>
                      <a:pt x="12" y="18"/>
                    </a:lnTo>
                    <a:lnTo>
                      <a:pt x="11" y="18"/>
                    </a:lnTo>
                    <a:lnTo>
                      <a:pt x="10" y="15"/>
                    </a:lnTo>
                    <a:lnTo>
                      <a:pt x="8" y="17"/>
                    </a:lnTo>
                    <a:lnTo>
                      <a:pt x="6" y="17"/>
                    </a:lnTo>
                    <a:lnTo>
                      <a:pt x="5" y="17"/>
                    </a:lnTo>
                    <a:lnTo>
                      <a:pt x="4" y="17"/>
                    </a:lnTo>
                    <a:lnTo>
                      <a:pt x="3" y="15"/>
                    </a:lnTo>
                    <a:lnTo>
                      <a:pt x="3" y="14"/>
                    </a:lnTo>
                    <a:lnTo>
                      <a:pt x="3" y="13"/>
                    </a:lnTo>
                    <a:lnTo>
                      <a:pt x="2" y="13"/>
                    </a:lnTo>
                    <a:lnTo>
                      <a:pt x="2" y="12"/>
                    </a:lnTo>
                    <a:lnTo>
                      <a:pt x="2" y="11"/>
                    </a:lnTo>
                    <a:lnTo>
                      <a:pt x="2" y="9"/>
                    </a:lnTo>
                    <a:lnTo>
                      <a:pt x="2" y="8"/>
                    </a:lnTo>
                    <a:lnTo>
                      <a:pt x="2" y="7"/>
                    </a:lnTo>
                    <a:lnTo>
                      <a:pt x="2" y="6"/>
                    </a:lnTo>
                    <a:lnTo>
                      <a:pt x="0" y="6"/>
                    </a:lnTo>
                    <a:lnTo>
                      <a:pt x="2" y="5"/>
                    </a:lnTo>
                    <a:lnTo>
                      <a:pt x="2" y="3"/>
                    </a:lnTo>
                    <a:lnTo>
                      <a:pt x="3" y="3"/>
                    </a:lnTo>
                    <a:lnTo>
                      <a:pt x="3" y="2"/>
                    </a:lnTo>
                    <a:lnTo>
                      <a:pt x="3" y="1"/>
                    </a:lnTo>
                    <a:lnTo>
                      <a:pt x="2" y="1"/>
                    </a:lnTo>
                    <a:lnTo>
                      <a:pt x="3" y="1"/>
                    </a:lnTo>
                    <a:lnTo>
                      <a:pt x="3" y="0"/>
                    </a:lnTo>
                  </a:path>
                </a:pathLst>
              </a:custGeom>
              <a:solidFill>
                <a:srgbClr val="EAEAEA"/>
              </a:solidFill>
              <a:ln w="9525" cmpd="sng">
                <a:solidFill>
                  <a:srgbClr val="777777"/>
                </a:solidFill>
                <a:prstDash val="solid"/>
                <a:round/>
                <a:headEnd/>
                <a:tailEnd/>
              </a:ln>
              <a:effectLst>
                <a:outerShdw dist="107763" dir="2700000" algn="ctr" rotWithShape="0">
                  <a:srgbClr val="808080">
                    <a:alpha val="50000"/>
                  </a:srgbClr>
                </a:outerShdw>
              </a:effectLst>
            </p:spPr>
            <p:txBody>
              <a:bodyPr/>
              <a:lstStyle/>
              <a:p>
                <a:pPr latinLnBrk="0">
                  <a:defRPr/>
                </a:pPr>
                <a:endParaRPr kumimoji="0" lang="ko-KR" altLang="en-US" dirty="0">
                  <a:ea typeface="+mn-ea"/>
                </a:endParaRPr>
              </a:p>
            </p:txBody>
          </p:sp>
          <p:sp>
            <p:nvSpPr>
              <p:cNvPr id="29" name="Freeform 15"/>
              <p:cNvSpPr>
                <a:spLocks/>
              </p:cNvSpPr>
              <p:nvPr/>
            </p:nvSpPr>
            <p:spPr bwMode="auto">
              <a:xfrm>
                <a:off x="2992985" y="5085727"/>
                <a:ext cx="238760" cy="135050"/>
              </a:xfrm>
              <a:custGeom>
                <a:avLst/>
                <a:gdLst/>
                <a:ahLst/>
                <a:cxnLst>
                  <a:cxn ang="0">
                    <a:pos x="75" y="122"/>
                  </a:cxn>
                  <a:cxn ang="0">
                    <a:pos x="37" y="110"/>
                  </a:cxn>
                  <a:cxn ang="0">
                    <a:pos x="12" y="97"/>
                  </a:cxn>
                  <a:cxn ang="0">
                    <a:pos x="0" y="48"/>
                  </a:cxn>
                  <a:cxn ang="0">
                    <a:pos x="27" y="26"/>
                  </a:cxn>
                  <a:cxn ang="0">
                    <a:pos x="51" y="5"/>
                  </a:cxn>
                  <a:cxn ang="0">
                    <a:pos x="93" y="0"/>
                  </a:cxn>
                  <a:cxn ang="0">
                    <a:pos x="135" y="5"/>
                  </a:cxn>
                  <a:cxn ang="0">
                    <a:pos x="158" y="29"/>
                  </a:cxn>
                  <a:cxn ang="0">
                    <a:pos x="161" y="84"/>
                  </a:cxn>
                  <a:cxn ang="0">
                    <a:pos x="150" y="102"/>
                  </a:cxn>
                  <a:cxn ang="0">
                    <a:pos x="108" y="119"/>
                  </a:cxn>
                  <a:cxn ang="0">
                    <a:pos x="75" y="122"/>
                  </a:cxn>
                </a:cxnLst>
                <a:rect l="0" t="0" r="r" b="b"/>
                <a:pathLst>
                  <a:path w="161" h="122">
                    <a:moveTo>
                      <a:pt x="75" y="122"/>
                    </a:moveTo>
                    <a:lnTo>
                      <a:pt x="37" y="110"/>
                    </a:lnTo>
                    <a:lnTo>
                      <a:pt x="12" y="97"/>
                    </a:lnTo>
                    <a:lnTo>
                      <a:pt x="0" y="48"/>
                    </a:lnTo>
                    <a:lnTo>
                      <a:pt x="27" y="26"/>
                    </a:lnTo>
                    <a:lnTo>
                      <a:pt x="51" y="5"/>
                    </a:lnTo>
                    <a:lnTo>
                      <a:pt x="93" y="0"/>
                    </a:lnTo>
                    <a:lnTo>
                      <a:pt x="135" y="5"/>
                    </a:lnTo>
                    <a:lnTo>
                      <a:pt x="158" y="29"/>
                    </a:lnTo>
                    <a:lnTo>
                      <a:pt x="161" y="84"/>
                    </a:lnTo>
                    <a:lnTo>
                      <a:pt x="150" y="102"/>
                    </a:lnTo>
                    <a:lnTo>
                      <a:pt x="108" y="119"/>
                    </a:lnTo>
                    <a:lnTo>
                      <a:pt x="75" y="122"/>
                    </a:lnTo>
                    <a:close/>
                  </a:path>
                </a:pathLst>
              </a:custGeom>
              <a:solidFill>
                <a:srgbClr val="EAEAEA"/>
              </a:solidFill>
              <a:ln w="9525" cmpd="sng">
                <a:solidFill>
                  <a:srgbClr val="777777"/>
                </a:solidFill>
                <a:prstDash val="solid"/>
                <a:round/>
                <a:headEnd/>
                <a:tailEnd/>
              </a:ln>
              <a:effectLst>
                <a:outerShdw dist="107763" dir="2700000" algn="ctr" rotWithShape="0">
                  <a:srgbClr val="808080">
                    <a:alpha val="50000"/>
                  </a:srgbClr>
                </a:outerShdw>
              </a:effectLst>
            </p:spPr>
            <p:txBody>
              <a:bodyPr/>
              <a:lstStyle/>
              <a:p>
                <a:pPr latinLnBrk="0">
                  <a:defRPr/>
                </a:pPr>
                <a:endParaRPr kumimoji="0" lang="ko-KR" altLang="en-US" dirty="0">
                  <a:ea typeface="+mn-ea"/>
                </a:endParaRPr>
              </a:p>
            </p:txBody>
          </p:sp>
          <p:sp>
            <p:nvSpPr>
              <p:cNvPr id="30" name="Freeform 16"/>
              <p:cNvSpPr>
                <a:spLocks/>
              </p:cNvSpPr>
              <p:nvPr/>
            </p:nvSpPr>
            <p:spPr bwMode="auto">
              <a:xfrm>
                <a:off x="2646137" y="4222322"/>
                <a:ext cx="1513224" cy="811813"/>
              </a:xfrm>
              <a:custGeom>
                <a:avLst/>
                <a:gdLst/>
                <a:ahLst/>
                <a:cxnLst>
                  <a:cxn ang="0">
                    <a:pos x="35" y="635"/>
                  </a:cxn>
                  <a:cxn ang="0">
                    <a:pos x="48" y="710"/>
                  </a:cxn>
                  <a:cxn ang="0">
                    <a:pos x="134" y="742"/>
                  </a:cxn>
                  <a:cxn ang="0">
                    <a:pos x="262" y="584"/>
                  </a:cxn>
                  <a:cxn ang="0">
                    <a:pos x="340" y="602"/>
                  </a:cxn>
                  <a:cxn ang="0">
                    <a:pos x="396" y="631"/>
                  </a:cxn>
                  <a:cxn ang="0">
                    <a:pos x="448" y="638"/>
                  </a:cxn>
                  <a:cxn ang="0">
                    <a:pos x="470" y="722"/>
                  </a:cxn>
                  <a:cxn ang="0">
                    <a:pos x="596" y="720"/>
                  </a:cxn>
                  <a:cxn ang="0">
                    <a:pos x="679" y="718"/>
                  </a:cxn>
                  <a:cxn ang="0">
                    <a:pos x="755" y="689"/>
                  </a:cxn>
                  <a:cxn ang="0">
                    <a:pos x="847" y="655"/>
                  </a:cxn>
                  <a:cxn ang="0">
                    <a:pos x="844" y="534"/>
                  </a:cxn>
                  <a:cxn ang="0">
                    <a:pos x="844" y="355"/>
                  </a:cxn>
                  <a:cxn ang="0">
                    <a:pos x="938" y="259"/>
                  </a:cxn>
                  <a:cxn ang="0">
                    <a:pos x="1014" y="196"/>
                  </a:cxn>
                  <a:cxn ang="0">
                    <a:pos x="1031" y="101"/>
                  </a:cxn>
                  <a:cxn ang="0">
                    <a:pos x="910" y="76"/>
                  </a:cxn>
                  <a:cxn ang="0">
                    <a:pos x="802" y="42"/>
                  </a:cxn>
                  <a:cxn ang="0">
                    <a:pos x="760" y="104"/>
                  </a:cxn>
                  <a:cxn ang="0">
                    <a:pos x="697" y="92"/>
                  </a:cxn>
                  <a:cxn ang="0">
                    <a:pos x="652" y="20"/>
                  </a:cxn>
                  <a:cxn ang="0">
                    <a:pos x="552" y="62"/>
                  </a:cxn>
                  <a:cxn ang="0">
                    <a:pos x="434" y="5"/>
                  </a:cxn>
                  <a:cxn ang="0">
                    <a:pos x="305" y="30"/>
                  </a:cxn>
                  <a:cxn ang="0">
                    <a:pos x="210" y="121"/>
                  </a:cxn>
                  <a:cxn ang="0">
                    <a:pos x="155" y="142"/>
                  </a:cxn>
                  <a:cxn ang="0">
                    <a:pos x="121" y="224"/>
                  </a:cxn>
                  <a:cxn ang="0">
                    <a:pos x="130" y="278"/>
                  </a:cxn>
                  <a:cxn ang="0">
                    <a:pos x="211" y="312"/>
                  </a:cxn>
                  <a:cxn ang="0">
                    <a:pos x="241" y="347"/>
                  </a:cxn>
                  <a:cxn ang="0">
                    <a:pos x="210" y="329"/>
                  </a:cxn>
                  <a:cxn ang="0">
                    <a:pos x="176" y="376"/>
                  </a:cxn>
                  <a:cxn ang="0">
                    <a:pos x="151" y="360"/>
                  </a:cxn>
                  <a:cxn ang="0">
                    <a:pos x="17" y="446"/>
                  </a:cxn>
                  <a:cxn ang="0">
                    <a:pos x="8" y="492"/>
                  </a:cxn>
                  <a:cxn ang="0">
                    <a:pos x="73" y="504"/>
                  </a:cxn>
                  <a:cxn ang="0">
                    <a:pos x="163" y="476"/>
                  </a:cxn>
                  <a:cxn ang="0">
                    <a:pos x="167" y="509"/>
                  </a:cxn>
                  <a:cxn ang="0">
                    <a:pos x="174" y="540"/>
                  </a:cxn>
                  <a:cxn ang="0">
                    <a:pos x="150" y="523"/>
                  </a:cxn>
                  <a:cxn ang="0">
                    <a:pos x="121" y="534"/>
                  </a:cxn>
                  <a:cxn ang="0">
                    <a:pos x="54" y="551"/>
                  </a:cxn>
                  <a:cxn ang="0">
                    <a:pos x="8" y="576"/>
                  </a:cxn>
                </a:cxnLst>
                <a:rect l="0" t="0" r="r" b="b"/>
                <a:pathLst>
                  <a:path w="1034" h="742">
                    <a:moveTo>
                      <a:pt x="0" y="613"/>
                    </a:moveTo>
                    <a:lnTo>
                      <a:pt x="35" y="635"/>
                    </a:lnTo>
                    <a:lnTo>
                      <a:pt x="43" y="671"/>
                    </a:lnTo>
                    <a:lnTo>
                      <a:pt x="48" y="710"/>
                    </a:lnTo>
                    <a:lnTo>
                      <a:pt x="82" y="734"/>
                    </a:lnTo>
                    <a:lnTo>
                      <a:pt x="134" y="742"/>
                    </a:lnTo>
                    <a:lnTo>
                      <a:pt x="202" y="684"/>
                    </a:lnTo>
                    <a:lnTo>
                      <a:pt x="262" y="584"/>
                    </a:lnTo>
                    <a:lnTo>
                      <a:pt x="293" y="584"/>
                    </a:lnTo>
                    <a:lnTo>
                      <a:pt x="340" y="602"/>
                    </a:lnTo>
                    <a:lnTo>
                      <a:pt x="372" y="641"/>
                    </a:lnTo>
                    <a:lnTo>
                      <a:pt x="396" y="631"/>
                    </a:lnTo>
                    <a:lnTo>
                      <a:pt x="421" y="610"/>
                    </a:lnTo>
                    <a:lnTo>
                      <a:pt x="448" y="638"/>
                    </a:lnTo>
                    <a:lnTo>
                      <a:pt x="450" y="695"/>
                    </a:lnTo>
                    <a:lnTo>
                      <a:pt x="470" y="722"/>
                    </a:lnTo>
                    <a:lnTo>
                      <a:pt x="546" y="701"/>
                    </a:lnTo>
                    <a:lnTo>
                      <a:pt x="596" y="720"/>
                    </a:lnTo>
                    <a:lnTo>
                      <a:pt x="635" y="722"/>
                    </a:lnTo>
                    <a:lnTo>
                      <a:pt x="679" y="718"/>
                    </a:lnTo>
                    <a:lnTo>
                      <a:pt x="714" y="697"/>
                    </a:lnTo>
                    <a:lnTo>
                      <a:pt x="755" y="689"/>
                    </a:lnTo>
                    <a:lnTo>
                      <a:pt x="822" y="734"/>
                    </a:lnTo>
                    <a:lnTo>
                      <a:pt x="847" y="655"/>
                    </a:lnTo>
                    <a:lnTo>
                      <a:pt x="859" y="596"/>
                    </a:lnTo>
                    <a:lnTo>
                      <a:pt x="844" y="534"/>
                    </a:lnTo>
                    <a:lnTo>
                      <a:pt x="834" y="463"/>
                    </a:lnTo>
                    <a:lnTo>
                      <a:pt x="844" y="355"/>
                    </a:lnTo>
                    <a:lnTo>
                      <a:pt x="889" y="296"/>
                    </a:lnTo>
                    <a:lnTo>
                      <a:pt x="938" y="259"/>
                    </a:lnTo>
                    <a:lnTo>
                      <a:pt x="994" y="221"/>
                    </a:lnTo>
                    <a:lnTo>
                      <a:pt x="1014" y="196"/>
                    </a:lnTo>
                    <a:lnTo>
                      <a:pt x="1034" y="142"/>
                    </a:lnTo>
                    <a:lnTo>
                      <a:pt x="1031" y="101"/>
                    </a:lnTo>
                    <a:lnTo>
                      <a:pt x="985" y="79"/>
                    </a:lnTo>
                    <a:lnTo>
                      <a:pt x="910" y="76"/>
                    </a:lnTo>
                    <a:lnTo>
                      <a:pt x="856" y="42"/>
                    </a:lnTo>
                    <a:lnTo>
                      <a:pt x="802" y="42"/>
                    </a:lnTo>
                    <a:lnTo>
                      <a:pt x="776" y="62"/>
                    </a:lnTo>
                    <a:lnTo>
                      <a:pt x="760" y="104"/>
                    </a:lnTo>
                    <a:lnTo>
                      <a:pt x="722" y="109"/>
                    </a:lnTo>
                    <a:lnTo>
                      <a:pt x="697" y="92"/>
                    </a:lnTo>
                    <a:lnTo>
                      <a:pt x="697" y="54"/>
                    </a:lnTo>
                    <a:lnTo>
                      <a:pt x="652" y="20"/>
                    </a:lnTo>
                    <a:lnTo>
                      <a:pt x="596" y="34"/>
                    </a:lnTo>
                    <a:lnTo>
                      <a:pt x="552" y="62"/>
                    </a:lnTo>
                    <a:lnTo>
                      <a:pt x="497" y="54"/>
                    </a:lnTo>
                    <a:lnTo>
                      <a:pt x="434" y="5"/>
                    </a:lnTo>
                    <a:lnTo>
                      <a:pt x="368" y="0"/>
                    </a:lnTo>
                    <a:lnTo>
                      <a:pt x="305" y="30"/>
                    </a:lnTo>
                    <a:lnTo>
                      <a:pt x="264" y="84"/>
                    </a:lnTo>
                    <a:lnTo>
                      <a:pt x="210" y="121"/>
                    </a:lnTo>
                    <a:lnTo>
                      <a:pt x="160" y="142"/>
                    </a:lnTo>
                    <a:lnTo>
                      <a:pt x="155" y="142"/>
                    </a:lnTo>
                    <a:lnTo>
                      <a:pt x="134" y="169"/>
                    </a:lnTo>
                    <a:lnTo>
                      <a:pt x="121" y="224"/>
                    </a:lnTo>
                    <a:lnTo>
                      <a:pt x="115" y="262"/>
                    </a:lnTo>
                    <a:lnTo>
                      <a:pt x="130" y="278"/>
                    </a:lnTo>
                    <a:lnTo>
                      <a:pt x="178" y="278"/>
                    </a:lnTo>
                    <a:lnTo>
                      <a:pt x="211" y="312"/>
                    </a:lnTo>
                    <a:lnTo>
                      <a:pt x="240" y="328"/>
                    </a:lnTo>
                    <a:lnTo>
                      <a:pt x="241" y="347"/>
                    </a:lnTo>
                    <a:lnTo>
                      <a:pt x="234" y="349"/>
                    </a:lnTo>
                    <a:lnTo>
                      <a:pt x="210" y="329"/>
                    </a:lnTo>
                    <a:lnTo>
                      <a:pt x="188" y="344"/>
                    </a:lnTo>
                    <a:lnTo>
                      <a:pt x="176" y="376"/>
                    </a:lnTo>
                    <a:lnTo>
                      <a:pt x="163" y="377"/>
                    </a:lnTo>
                    <a:lnTo>
                      <a:pt x="151" y="360"/>
                    </a:lnTo>
                    <a:lnTo>
                      <a:pt x="79" y="392"/>
                    </a:lnTo>
                    <a:lnTo>
                      <a:pt x="17" y="446"/>
                    </a:lnTo>
                    <a:lnTo>
                      <a:pt x="10" y="463"/>
                    </a:lnTo>
                    <a:lnTo>
                      <a:pt x="8" y="492"/>
                    </a:lnTo>
                    <a:lnTo>
                      <a:pt x="20" y="500"/>
                    </a:lnTo>
                    <a:lnTo>
                      <a:pt x="73" y="504"/>
                    </a:lnTo>
                    <a:lnTo>
                      <a:pt x="113" y="480"/>
                    </a:lnTo>
                    <a:lnTo>
                      <a:pt x="163" y="476"/>
                    </a:lnTo>
                    <a:lnTo>
                      <a:pt x="172" y="492"/>
                    </a:lnTo>
                    <a:lnTo>
                      <a:pt x="167" y="509"/>
                    </a:lnTo>
                    <a:lnTo>
                      <a:pt x="176" y="530"/>
                    </a:lnTo>
                    <a:lnTo>
                      <a:pt x="174" y="540"/>
                    </a:lnTo>
                    <a:lnTo>
                      <a:pt x="163" y="536"/>
                    </a:lnTo>
                    <a:lnTo>
                      <a:pt x="150" y="523"/>
                    </a:lnTo>
                    <a:lnTo>
                      <a:pt x="133" y="509"/>
                    </a:lnTo>
                    <a:lnTo>
                      <a:pt x="121" y="534"/>
                    </a:lnTo>
                    <a:lnTo>
                      <a:pt x="88" y="526"/>
                    </a:lnTo>
                    <a:lnTo>
                      <a:pt x="54" y="551"/>
                    </a:lnTo>
                    <a:lnTo>
                      <a:pt x="46" y="568"/>
                    </a:lnTo>
                    <a:lnTo>
                      <a:pt x="8" y="576"/>
                    </a:lnTo>
                    <a:lnTo>
                      <a:pt x="0" y="613"/>
                    </a:lnTo>
                    <a:close/>
                  </a:path>
                </a:pathLst>
              </a:custGeom>
              <a:solidFill>
                <a:srgbClr val="EAEAEA"/>
              </a:solidFill>
              <a:ln w="9525" cmpd="sng">
                <a:solidFill>
                  <a:srgbClr val="777777"/>
                </a:solidFill>
                <a:prstDash val="solid"/>
                <a:round/>
                <a:headEnd/>
                <a:tailEnd/>
              </a:ln>
              <a:effectLst>
                <a:outerShdw dist="107763" dir="2700000" algn="ctr" rotWithShape="0">
                  <a:srgbClr val="808080">
                    <a:alpha val="50000"/>
                  </a:srgbClr>
                </a:outerShdw>
              </a:effectLst>
            </p:spPr>
            <p:txBody>
              <a:bodyPr/>
              <a:lstStyle/>
              <a:p>
                <a:pPr latinLnBrk="0">
                  <a:defRPr/>
                </a:pPr>
                <a:endParaRPr kumimoji="0" lang="ko-KR" altLang="en-US" dirty="0">
                  <a:ea typeface="+mn-ea"/>
                </a:endParaRPr>
              </a:p>
            </p:txBody>
          </p:sp>
          <p:sp>
            <p:nvSpPr>
              <p:cNvPr id="31" name="Freeform 17"/>
              <p:cNvSpPr>
                <a:spLocks/>
              </p:cNvSpPr>
              <p:nvPr/>
            </p:nvSpPr>
            <p:spPr bwMode="auto">
              <a:xfrm>
                <a:off x="2468680" y="4859633"/>
                <a:ext cx="1635831" cy="1122882"/>
              </a:xfrm>
              <a:custGeom>
                <a:avLst/>
                <a:gdLst/>
                <a:ahLst/>
                <a:cxnLst>
                  <a:cxn ang="0">
                    <a:pos x="726" y="874"/>
                  </a:cxn>
                  <a:cxn ang="0">
                    <a:pos x="801" y="874"/>
                  </a:cxn>
                  <a:cxn ang="0">
                    <a:pos x="778" y="773"/>
                  </a:cxn>
                  <a:cxn ang="0">
                    <a:pos x="883" y="753"/>
                  </a:cxn>
                  <a:cxn ang="0">
                    <a:pos x="835" y="704"/>
                  </a:cxn>
                  <a:cxn ang="0">
                    <a:pos x="807" y="632"/>
                  </a:cxn>
                  <a:cxn ang="0">
                    <a:pos x="817" y="594"/>
                  </a:cxn>
                  <a:cxn ang="0">
                    <a:pos x="933" y="617"/>
                  </a:cxn>
                  <a:cxn ang="0">
                    <a:pos x="922" y="647"/>
                  </a:cxn>
                  <a:cxn ang="0">
                    <a:pos x="921" y="702"/>
                  </a:cxn>
                  <a:cxn ang="0">
                    <a:pos x="1023" y="740"/>
                  </a:cxn>
                  <a:cxn ang="0">
                    <a:pos x="1101" y="742"/>
                  </a:cxn>
                  <a:cxn ang="0">
                    <a:pos x="1071" y="568"/>
                  </a:cxn>
                  <a:cxn ang="0">
                    <a:pos x="1004" y="555"/>
                  </a:cxn>
                  <a:cxn ang="0">
                    <a:pos x="936" y="471"/>
                  </a:cxn>
                  <a:cxn ang="0">
                    <a:pos x="1023" y="479"/>
                  </a:cxn>
                  <a:cxn ang="0">
                    <a:pos x="1102" y="400"/>
                  </a:cxn>
                  <a:cxn ang="0">
                    <a:pos x="801" y="134"/>
                  </a:cxn>
                  <a:cxn ang="0">
                    <a:pos x="570" y="54"/>
                  </a:cxn>
                  <a:cxn ang="0">
                    <a:pos x="384" y="0"/>
                  </a:cxn>
                  <a:cxn ang="0">
                    <a:pos x="157" y="51"/>
                  </a:cxn>
                  <a:cxn ang="0">
                    <a:pos x="126" y="88"/>
                  </a:cxn>
                  <a:cxn ang="0">
                    <a:pos x="154" y="137"/>
                  </a:cxn>
                  <a:cxn ang="0">
                    <a:pos x="72" y="154"/>
                  </a:cxn>
                  <a:cxn ang="0">
                    <a:pos x="84" y="244"/>
                  </a:cxn>
                  <a:cxn ang="0">
                    <a:pos x="97" y="315"/>
                  </a:cxn>
                  <a:cxn ang="0">
                    <a:pos x="112" y="384"/>
                  </a:cxn>
                  <a:cxn ang="0">
                    <a:pos x="74" y="365"/>
                  </a:cxn>
                  <a:cxn ang="0">
                    <a:pos x="34" y="336"/>
                  </a:cxn>
                  <a:cxn ang="0">
                    <a:pos x="34" y="483"/>
                  </a:cxn>
                  <a:cxn ang="0">
                    <a:pos x="84" y="479"/>
                  </a:cxn>
                  <a:cxn ang="0">
                    <a:pos x="76" y="597"/>
                  </a:cxn>
                  <a:cxn ang="0">
                    <a:pos x="206" y="687"/>
                  </a:cxn>
                  <a:cxn ang="0">
                    <a:pos x="182" y="724"/>
                  </a:cxn>
                  <a:cxn ang="0">
                    <a:pos x="108" y="730"/>
                  </a:cxn>
                  <a:cxn ang="0">
                    <a:pos x="92" y="776"/>
                  </a:cxn>
                  <a:cxn ang="0">
                    <a:pos x="8" y="659"/>
                  </a:cxn>
                  <a:cxn ang="0">
                    <a:pos x="28" y="788"/>
                  </a:cxn>
                  <a:cxn ang="0">
                    <a:pos x="86" y="808"/>
                  </a:cxn>
                  <a:cxn ang="0">
                    <a:pos x="128" y="816"/>
                  </a:cxn>
                  <a:cxn ang="0">
                    <a:pos x="195" y="803"/>
                  </a:cxn>
                  <a:cxn ang="0">
                    <a:pos x="142" y="856"/>
                  </a:cxn>
                  <a:cxn ang="0">
                    <a:pos x="147" y="908"/>
                  </a:cxn>
                  <a:cxn ang="0">
                    <a:pos x="156" y="933"/>
                  </a:cxn>
                  <a:cxn ang="0">
                    <a:pos x="188" y="1019"/>
                  </a:cxn>
                  <a:cxn ang="0">
                    <a:pos x="284" y="923"/>
                  </a:cxn>
                  <a:cxn ang="0">
                    <a:pos x="325" y="908"/>
                  </a:cxn>
                  <a:cxn ang="0">
                    <a:pos x="356" y="861"/>
                  </a:cxn>
                  <a:cxn ang="0">
                    <a:pos x="385" y="746"/>
                  </a:cxn>
                  <a:cxn ang="0">
                    <a:pos x="415" y="899"/>
                  </a:cxn>
                  <a:cxn ang="0">
                    <a:pos x="510" y="870"/>
                  </a:cxn>
                  <a:cxn ang="0">
                    <a:pos x="519" y="807"/>
                  </a:cxn>
                  <a:cxn ang="0">
                    <a:pos x="580" y="720"/>
                  </a:cxn>
                  <a:cxn ang="0">
                    <a:pos x="662" y="668"/>
                  </a:cxn>
                  <a:cxn ang="0">
                    <a:pos x="739" y="626"/>
                  </a:cxn>
                  <a:cxn ang="0">
                    <a:pos x="763" y="712"/>
                  </a:cxn>
                  <a:cxn ang="0">
                    <a:pos x="704" y="670"/>
                  </a:cxn>
                  <a:cxn ang="0">
                    <a:pos x="398" y="317"/>
                  </a:cxn>
                  <a:cxn ang="0">
                    <a:pos x="496" y="212"/>
                  </a:cxn>
                  <a:cxn ang="0">
                    <a:pos x="680" y="778"/>
                  </a:cxn>
                </a:cxnLst>
                <a:rect l="0" t="0" r="r" b="b"/>
                <a:pathLst>
                  <a:path w="1119" h="1026">
                    <a:moveTo>
                      <a:pt x="680" y="778"/>
                    </a:moveTo>
                    <a:lnTo>
                      <a:pt x="679" y="791"/>
                    </a:lnTo>
                    <a:lnTo>
                      <a:pt x="690" y="816"/>
                    </a:lnTo>
                    <a:lnTo>
                      <a:pt x="704" y="834"/>
                    </a:lnTo>
                    <a:lnTo>
                      <a:pt x="723" y="848"/>
                    </a:lnTo>
                    <a:lnTo>
                      <a:pt x="726" y="874"/>
                    </a:lnTo>
                    <a:lnTo>
                      <a:pt x="747" y="881"/>
                    </a:lnTo>
                    <a:lnTo>
                      <a:pt x="775" y="906"/>
                    </a:lnTo>
                    <a:lnTo>
                      <a:pt x="781" y="899"/>
                    </a:lnTo>
                    <a:lnTo>
                      <a:pt x="776" y="874"/>
                    </a:lnTo>
                    <a:lnTo>
                      <a:pt x="781" y="866"/>
                    </a:lnTo>
                    <a:lnTo>
                      <a:pt x="801" y="874"/>
                    </a:lnTo>
                    <a:lnTo>
                      <a:pt x="817" y="836"/>
                    </a:lnTo>
                    <a:lnTo>
                      <a:pt x="820" y="822"/>
                    </a:lnTo>
                    <a:lnTo>
                      <a:pt x="829" y="809"/>
                    </a:lnTo>
                    <a:lnTo>
                      <a:pt x="793" y="803"/>
                    </a:lnTo>
                    <a:lnTo>
                      <a:pt x="776" y="789"/>
                    </a:lnTo>
                    <a:lnTo>
                      <a:pt x="778" y="773"/>
                    </a:lnTo>
                    <a:lnTo>
                      <a:pt x="801" y="764"/>
                    </a:lnTo>
                    <a:lnTo>
                      <a:pt x="823" y="767"/>
                    </a:lnTo>
                    <a:lnTo>
                      <a:pt x="844" y="776"/>
                    </a:lnTo>
                    <a:lnTo>
                      <a:pt x="873" y="778"/>
                    </a:lnTo>
                    <a:lnTo>
                      <a:pt x="885" y="772"/>
                    </a:lnTo>
                    <a:lnTo>
                      <a:pt x="883" y="753"/>
                    </a:lnTo>
                    <a:lnTo>
                      <a:pt x="864" y="749"/>
                    </a:lnTo>
                    <a:lnTo>
                      <a:pt x="852" y="743"/>
                    </a:lnTo>
                    <a:lnTo>
                      <a:pt x="854" y="736"/>
                    </a:lnTo>
                    <a:lnTo>
                      <a:pt x="870" y="735"/>
                    </a:lnTo>
                    <a:lnTo>
                      <a:pt x="872" y="726"/>
                    </a:lnTo>
                    <a:lnTo>
                      <a:pt x="835" y="704"/>
                    </a:lnTo>
                    <a:lnTo>
                      <a:pt x="826" y="689"/>
                    </a:lnTo>
                    <a:lnTo>
                      <a:pt x="814" y="676"/>
                    </a:lnTo>
                    <a:lnTo>
                      <a:pt x="793" y="672"/>
                    </a:lnTo>
                    <a:lnTo>
                      <a:pt x="790" y="650"/>
                    </a:lnTo>
                    <a:lnTo>
                      <a:pt x="795" y="640"/>
                    </a:lnTo>
                    <a:lnTo>
                      <a:pt x="807" y="632"/>
                    </a:lnTo>
                    <a:lnTo>
                      <a:pt x="801" y="626"/>
                    </a:lnTo>
                    <a:lnTo>
                      <a:pt x="790" y="626"/>
                    </a:lnTo>
                    <a:lnTo>
                      <a:pt x="778" y="622"/>
                    </a:lnTo>
                    <a:lnTo>
                      <a:pt x="781" y="609"/>
                    </a:lnTo>
                    <a:lnTo>
                      <a:pt x="795" y="605"/>
                    </a:lnTo>
                    <a:lnTo>
                      <a:pt x="817" y="594"/>
                    </a:lnTo>
                    <a:lnTo>
                      <a:pt x="843" y="579"/>
                    </a:lnTo>
                    <a:lnTo>
                      <a:pt x="868" y="566"/>
                    </a:lnTo>
                    <a:lnTo>
                      <a:pt x="892" y="566"/>
                    </a:lnTo>
                    <a:lnTo>
                      <a:pt x="906" y="590"/>
                    </a:lnTo>
                    <a:lnTo>
                      <a:pt x="921" y="592"/>
                    </a:lnTo>
                    <a:lnTo>
                      <a:pt x="933" y="617"/>
                    </a:lnTo>
                    <a:lnTo>
                      <a:pt x="952" y="622"/>
                    </a:lnTo>
                    <a:lnTo>
                      <a:pt x="964" y="626"/>
                    </a:lnTo>
                    <a:lnTo>
                      <a:pt x="967" y="634"/>
                    </a:lnTo>
                    <a:lnTo>
                      <a:pt x="957" y="644"/>
                    </a:lnTo>
                    <a:lnTo>
                      <a:pt x="936" y="645"/>
                    </a:lnTo>
                    <a:lnTo>
                      <a:pt x="922" y="647"/>
                    </a:lnTo>
                    <a:lnTo>
                      <a:pt x="922" y="659"/>
                    </a:lnTo>
                    <a:lnTo>
                      <a:pt x="928" y="663"/>
                    </a:lnTo>
                    <a:lnTo>
                      <a:pt x="944" y="664"/>
                    </a:lnTo>
                    <a:lnTo>
                      <a:pt x="944" y="672"/>
                    </a:lnTo>
                    <a:lnTo>
                      <a:pt x="925" y="684"/>
                    </a:lnTo>
                    <a:lnTo>
                      <a:pt x="921" y="702"/>
                    </a:lnTo>
                    <a:lnTo>
                      <a:pt x="931" y="719"/>
                    </a:lnTo>
                    <a:lnTo>
                      <a:pt x="939" y="732"/>
                    </a:lnTo>
                    <a:lnTo>
                      <a:pt x="964" y="726"/>
                    </a:lnTo>
                    <a:lnTo>
                      <a:pt x="973" y="735"/>
                    </a:lnTo>
                    <a:lnTo>
                      <a:pt x="981" y="740"/>
                    </a:lnTo>
                    <a:lnTo>
                      <a:pt x="1023" y="740"/>
                    </a:lnTo>
                    <a:lnTo>
                      <a:pt x="1040" y="752"/>
                    </a:lnTo>
                    <a:lnTo>
                      <a:pt x="1059" y="768"/>
                    </a:lnTo>
                    <a:lnTo>
                      <a:pt x="1095" y="780"/>
                    </a:lnTo>
                    <a:lnTo>
                      <a:pt x="1113" y="780"/>
                    </a:lnTo>
                    <a:lnTo>
                      <a:pt x="1119" y="772"/>
                    </a:lnTo>
                    <a:lnTo>
                      <a:pt x="1101" y="742"/>
                    </a:lnTo>
                    <a:lnTo>
                      <a:pt x="1104" y="725"/>
                    </a:lnTo>
                    <a:lnTo>
                      <a:pt x="1092" y="710"/>
                    </a:lnTo>
                    <a:lnTo>
                      <a:pt x="1070" y="676"/>
                    </a:lnTo>
                    <a:lnTo>
                      <a:pt x="1070" y="647"/>
                    </a:lnTo>
                    <a:lnTo>
                      <a:pt x="1075" y="594"/>
                    </a:lnTo>
                    <a:lnTo>
                      <a:pt x="1071" y="568"/>
                    </a:lnTo>
                    <a:lnTo>
                      <a:pt x="1084" y="549"/>
                    </a:lnTo>
                    <a:lnTo>
                      <a:pt x="1070" y="538"/>
                    </a:lnTo>
                    <a:lnTo>
                      <a:pt x="1057" y="530"/>
                    </a:lnTo>
                    <a:lnTo>
                      <a:pt x="1032" y="543"/>
                    </a:lnTo>
                    <a:lnTo>
                      <a:pt x="1018" y="560"/>
                    </a:lnTo>
                    <a:lnTo>
                      <a:pt x="1004" y="555"/>
                    </a:lnTo>
                    <a:lnTo>
                      <a:pt x="992" y="561"/>
                    </a:lnTo>
                    <a:lnTo>
                      <a:pt x="982" y="556"/>
                    </a:lnTo>
                    <a:lnTo>
                      <a:pt x="978" y="543"/>
                    </a:lnTo>
                    <a:lnTo>
                      <a:pt x="952" y="525"/>
                    </a:lnTo>
                    <a:lnTo>
                      <a:pt x="931" y="496"/>
                    </a:lnTo>
                    <a:lnTo>
                      <a:pt x="936" y="471"/>
                    </a:lnTo>
                    <a:lnTo>
                      <a:pt x="952" y="467"/>
                    </a:lnTo>
                    <a:lnTo>
                      <a:pt x="961" y="488"/>
                    </a:lnTo>
                    <a:lnTo>
                      <a:pt x="986" y="494"/>
                    </a:lnTo>
                    <a:lnTo>
                      <a:pt x="1004" y="492"/>
                    </a:lnTo>
                    <a:lnTo>
                      <a:pt x="1012" y="489"/>
                    </a:lnTo>
                    <a:lnTo>
                      <a:pt x="1023" y="479"/>
                    </a:lnTo>
                    <a:lnTo>
                      <a:pt x="1036" y="464"/>
                    </a:lnTo>
                    <a:lnTo>
                      <a:pt x="1044" y="442"/>
                    </a:lnTo>
                    <a:lnTo>
                      <a:pt x="1065" y="430"/>
                    </a:lnTo>
                    <a:lnTo>
                      <a:pt x="1082" y="435"/>
                    </a:lnTo>
                    <a:lnTo>
                      <a:pt x="1102" y="428"/>
                    </a:lnTo>
                    <a:lnTo>
                      <a:pt x="1102" y="400"/>
                    </a:lnTo>
                    <a:lnTo>
                      <a:pt x="1020" y="305"/>
                    </a:lnTo>
                    <a:lnTo>
                      <a:pt x="980" y="236"/>
                    </a:lnTo>
                    <a:lnTo>
                      <a:pt x="944" y="150"/>
                    </a:lnTo>
                    <a:lnTo>
                      <a:pt x="877" y="105"/>
                    </a:lnTo>
                    <a:lnTo>
                      <a:pt x="836" y="113"/>
                    </a:lnTo>
                    <a:lnTo>
                      <a:pt x="801" y="134"/>
                    </a:lnTo>
                    <a:lnTo>
                      <a:pt x="757" y="138"/>
                    </a:lnTo>
                    <a:lnTo>
                      <a:pt x="718" y="136"/>
                    </a:lnTo>
                    <a:lnTo>
                      <a:pt x="668" y="117"/>
                    </a:lnTo>
                    <a:lnTo>
                      <a:pt x="592" y="138"/>
                    </a:lnTo>
                    <a:lnTo>
                      <a:pt x="572" y="111"/>
                    </a:lnTo>
                    <a:lnTo>
                      <a:pt x="570" y="54"/>
                    </a:lnTo>
                    <a:lnTo>
                      <a:pt x="543" y="26"/>
                    </a:lnTo>
                    <a:lnTo>
                      <a:pt x="518" y="47"/>
                    </a:lnTo>
                    <a:lnTo>
                      <a:pt x="494" y="57"/>
                    </a:lnTo>
                    <a:lnTo>
                      <a:pt x="462" y="18"/>
                    </a:lnTo>
                    <a:lnTo>
                      <a:pt x="415" y="0"/>
                    </a:lnTo>
                    <a:lnTo>
                      <a:pt x="384" y="0"/>
                    </a:lnTo>
                    <a:lnTo>
                      <a:pt x="324" y="100"/>
                    </a:lnTo>
                    <a:lnTo>
                      <a:pt x="256" y="158"/>
                    </a:lnTo>
                    <a:lnTo>
                      <a:pt x="204" y="150"/>
                    </a:lnTo>
                    <a:lnTo>
                      <a:pt x="170" y="126"/>
                    </a:lnTo>
                    <a:lnTo>
                      <a:pt x="165" y="87"/>
                    </a:lnTo>
                    <a:lnTo>
                      <a:pt x="157" y="51"/>
                    </a:lnTo>
                    <a:lnTo>
                      <a:pt x="122" y="29"/>
                    </a:lnTo>
                    <a:lnTo>
                      <a:pt x="117" y="56"/>
                    </a:lnTo>
                    <a:lnTo>
                      <a:pt x="102" y="71"/>
                    </a:lnTo>
                    <a:lnTo>
                      <a:pt x="100" y="84"/>
                    </a:lnTo>
                    <a:lnTo>
                      <a:pt x="109" y="96"/>
                    </a:lnTo>
                    <a:lnTo>
                      <a:pt x="126" y="88"/>
                    </a:lnTo>
                    <a:lnTo>
                      <a:pt x="147" y="83"/>
                    </a:lnTo>
                    <a:lnTo>
                      <a:pt x="156" y="93"/>
                    </a:lnTo>
                    <a:lnTo>
                      <a:pt x="138" y="105"/>
                    </a:lnTo>
                    <a:lnTo>
                      <a:pt x="128" y="117"/>
                    </a:lnTo>
                    <a:lnTo>
                      <a:pt x="139" y="131"/>
                    </a:lnTo>
                    <a:lnTo>
                      <a:pt x="154" y="137"/>
                    </a:lnTo>
                    <a:lnTo>
                      <a:pt x="153" y="146"/>
                    </a:lnTo>
                    <a:lnTo>
                      <a:pt x="138" y="150"/>
                    </a:lnTo>
                    <a:lnTo>
                      <a:pt x="122" y="144"/>
                    </a:lnTo>
                    <a:lnTo>
                      <a:pt x="102" y="117"/>
                    </a:lnTo>
                    <a:lnTo>
                      <a:pt x="84" y="131"/>
                    </a:lnTo>
                    <a:lnTo>
                      <a:pt x="72" y="154"/>
                    </a:lnTo>
                    <a:lnTo>
                      <a:pt x="84" y="182"/>
                    </a:lnTo>
                    <a:lnTo>
                      <a:pt x="80" y="192"/>
                    </a:lnTo>
                    <a:lnTo>
                      <a:pt x="51" y="196"/>
                    </a:lnTo>
                    <a:lnTo>
                      <a:pt x="49" y="228"/>
                    </a:lnTo>
                    <a:lnTo>
                      <a:pt x="68" y="239"/>
                    </a:lnTo>
                    <a:lnTo>
                      <a:pt x="84" y="244"/>
                    </a:lnTo>
                    <a:lnTo>
                      <a:pt x="68" y="252"/>
                    </a:lnTo>
                    <a:lnTo>
                      <a:pt x="67" y="262"/>
                    </a:lnTo>
                    <a:lnTo>
                      <a:pt x="79" y="282"/>
                    </a:lnTo>
                    <a:lnTo>
                      <a:pt x="84" y="303"/>
                    </a:lnTo>
                    <a:lnTo>
                      <a:pt x="102" y="302"/>
                    </a:lnTo>
                    <a:lnTo>
                      <a:pt x="97" y="315"/>
                    </a:lnTo>
                    <a:lnTo>
                      <a:pt x="97" y="326"/>
                    </a:lnTo>
                    <a:lnTo>
                      <a:pt x="129" y="333"/>
                    </a:lnTo>
                    <a:lnTo>
                      <a:pt x="129" y="340"/>
                    </a:lnTo>
                    <a:lnTo>
                      <a:pt x="117" y="354"/>
                    </a:lnTo>
                    <a:lnTo>
                      <a:pt x="129" y="362"/>
                    </a:lnTo>
                    <a:lnTo>
                      <a:pt x="112" y="384"/>
                    </a:lnTo>
                    <a:lnTo>
                      <a:pt x="116" y="390"/>
                    </a:lnTo>
                    <a:lnTo>
                      <a:pt x="110" y="402"/>
                    </a:lnTo>
                    <a:lnTo>
                      <a:pt x="96" y="393"/>
                    </a:lnTo>
                    <a:lnTo>
                      <a:pt x="93" y="376"/>
                    </a:lnTo>
                    <a:lnTo>
                      <a:pt x="79" y="357"/>
                    </a:lnTo>
                    <a:lnTo>
                      <a:pt x="74" y="365"/>
                    </a:lnTo>
                    <a:lnTo>
                      <a:pt x="61" y="369"/>
                    </a:lnTo>
                    <a:lnTo>
                      <a:pt x="54" y="346"/>
                    </a:lnTo>
                    <a:lnTo>
                      <a:pt x="49" y="322"/>
                    </a:lnTo>
                    <a:lnTo>
                      <a:pt x="51" y="294"/>
                    </a:lnTo>
                    <a:lnTo>
                      <a:pt x="44" y="286"/>
                    </a:lnTo>
                    <a:lnTo>
                      <a:pt x="34" y="336"/>
                    </a:lnTo>
                    <a:lnTo>
                      <a:pt x="51" y="383"/>
                    </a:lnTo>
                    <a:lnTo>
                      <a:pt x="70" y="395"/>
                    </a:lnTo>
                    <a:lnTo>
                      <a:pt x="63" y="413"/>
                    </a:lnTo>
                    <a:lnTo>
                      <a:pt x="34" y="429"/>
                    </a:lnTo>
                    <a:lnTo>
                      <a:pt x="20" y="450"/>
                    </a:lnTo>
                    <a:lnTo>
                      <a:pt x="34" y="483"/>
                    </a:lnTo>
                    <a:lnTo>
                      <a:pt x="60" y="489"/>
                    </a:lnTo>
                    <a:lnTo>
                      <a:pt x="70" y="462"/>
                    </a:lnTo>
                    <a:lnTo>
                      <a:pt x="75" y="442"/>
                    </a:lnTo>
                    <a:lnTo>
                      <a:pt x="100" y="432"/>
                    </a:lnTo>
                    <a:lnTo>
                      <a:pt x="117" y="446"/>
                    </a:lnTo>
                    <a:lnTo>
                      <a:pt x="84" y="479"/>
                    </a:lnTo>
                    <a:lnTo>
                      <a:pt x="90" y="504"/>
                    </a:lnTo>
                    <a:lnTo>
                      <a:pt x="109" y="516"/>
                    </a:lnTo>
                    <a:lnTo>
                      <a:pt x="99" y="530"/>
                    </a:lnTo>
                    <a:lnTo>
                      <a:pt x="97" y="557"/>
                    </a:lnTo>
                    <a:lnTo>
                      <a:pt x="84" y="569"/>
                    </a:lnTo>
                    <a:lnTo>
                      <a:pt x="76" y="597"/>
                    </a:lnTo>
                    <a:lnTo>
                      <a:pt x="70" y="651"/>
                    </a:lnTo>
                    <a:lnTo>
                      <a:pt x="70" y="668"/>
                    </a:lnTo>
                    <a:lnTo>
                      <a:pt x="92" y="684"/>
                    </a:lnTo>
                    <a:lnTo>
                      <a:pt x="129" y="684"/>
                    </a:lnTo>
                    <a:lnTo>
                      <a:pt x="184" y="692"/>
                    </a:lnTo>
                    <a:lnTo>
                      <a:pt x="206" y="687"/>
                    </a:lnTo>
                    <a:lnTo>
                      <a:pt x="214" y="710"/>
                    </a:lnTo>
                    <a:lnTo>
                      <a:pt x="222" y="725"/>
                    </a:lnTo>
                    <a:lnTo>
                      <a:pt x="255" y="744"/>
                    </a:lnTo>
                    <a:lnTo>
                      <a:pt x="246" y="749"/>
                    </a:lnTo>
                    <a:lnTo>
                      <a:pt x="201" y="726"/>
                    </a:lnTo>
                    <a:lnTo>
                      <a:pt x="182" y="724"/>
                    </a:lnTo>
                    <a:lnTo>
                      <a:pt x="183" y="735"/>
                    </a:lnTo>
                    <a:lnTo>
                      <a:pt x="175" y="738"/>
                    </a:lnTo>
                    <a:lnTo>
                      <a:pt x="150" y="725"/>
                    </a:lnTo>
                    <a:lnTo>
                      <a:pt x="130" y="710"/>
                    </a:lnTo>
                    <a:lnTo>
                      <a:pt x="109" y="716"/>
                    </a:lnTo>
                    <a:lnTo>
                      <a:pt x="108" y="730"/>
                    </a:lnTo>
                    <a:lnTo>
                      <a:pt x="132" y="744"/>
                    </a:lnTo>
                    <a:lnTo>
                      <a:pt x="144" y="755"/>
                    </a:lnTo>
                    <a:lnTo>
                      <a:pt x="141" y="766"/>
                    </a:lnTo>
                    <a:lnTo>
                      <a:pt x="133" y="770"/>
                    </a:lnTo>
                    <a:lnTo>
                      <a:pt x="112" y="772"/>
                    </a:lnTo>
                    <a:lnTo>
                      <a:pt x="92" y="776"/>
                    </a:lnTo>
                    <a:lnTo>
                      <a:pt x="67" y="744"/>
                    </a:lnTo>
                    <a:lnTo>
                      <a:pt x="54" y="710"/>
                    </a:lnTo>
                    <a:lnTo>
                      <a:pt x="46" y="684"/>
                    </a:lnTo>
                    <a:lnTo>
                      <a:pt x="46" y="651"/>
                    </a:lnTo>
                    <a:lnTo>
                      <a:pt x="28" y="626"/>
                    </a:lnTo>
                    <a:lnTo>
                      <a:pt x="8" y="659"/>
                    </a:lnTo>
                    <a:lnTo>
                      <a:pt x="3" y="684"/>
                    </a:lnTo>
                    <a:lnTo>
                      <a:pt x="0" y="718"/>
                    </a:lnTo>
                    <a:lnTo>
                      <a:pt x="25" y="740"/>
                    </a:lnTo>
                    <a:lnTo>
                      <a:pt x="26" y="748"/>
                    </a:lnTo>
                    <a:lnTo>
                      <a:pt x="16" y="760"/>
                    </a:lnTo>
                    <a:lnTo>
                      <a:pt x="28" y="788"/>
                    </a:lnTo>
                    <a:lnTo>
                      <a:pt x="46" y="797"/>
                    </a:lnTo>
                    <a:lnTo>
                      <a:pt x="58" y="792"/>
                    </a:lnTo>
                    <a:lnTo>
                      <a:pt x="64" y="797"/>
                    </a:lnTo>
                    <a:lnTo>
                      <a:pt x="64" y="806"/>
                    </a:lnTo>
                    <a:lnTo>
                      <a:pt x="74" y="809"/>
                    </a:lnTo>
                    <a:lnTo>
                      <a:pt x="86" y="808"/>
                    </a:lnTo>
                    <a:lnTo>
                      <a:pt x="90" y="815"/>
                    </a:lnTo>
                    <a:lnTo>
                      <a:pt x="86" y="825"/>
                    </a:lnTo>
                    <a:lnTo>
                      <a:pt x="102" y="826"/>
                    </a:lnTo>
                    <a:lnTo>
                      <a:pt x="108" y="816"/>
                    </a:lnTo>
                    <a:lnTo>
                      <a:pt x="122" y="810"/>
                    </a:lnTo>
                    <a:lnTo>
                      <a:pt x="128" y="816"/>
                    </a:lnTo>
                    <a:lnTo>
                      <a:pt x="150" y="820"/>
                    </a:lnTo>
                    <a:lnTo>
                      <a:pt x="153" y="802"/>
                    </a:lnTo>
                    <a:lnTo>
                      <a:pt x="169" y="803"/>
                    </a:lnTo>
                    <a:lnTo>
                      <a:pt x="181" y="800"/>
                    </a:lnTo>
                    <a:lnTo>
                      <a:pt x="194" y="795"/>
                    </a:lnTo>
                    <a:lnTo>
                      <a:pt x="195" y="803"/>
                    </a:lnTo>
                    <a:lnTo>
                      <a:pt x="188" y="820"/>
                    </a:lnTo>
                    <a:lnTo>
                      <a:pt x="195" y="828"/>
                    </a:lnTo>
                    <a:lnTo>
                      <a:pt x="192" y="837"/>
                    </a:lnTo>
                    <a:lnTo>
                      <a:pt x="176" y="837"/>
                    </a:lnTo>
                    <a:lnTo>
                      <a:pt x="158" y="843"/>
                    </a:lnTo>
                    <a:lnTo>
                      <a:pt x="142" y="856"/>
                    </a:lnTo>
                    <a:lnTo>
                      <a:pt x="135" y="870"/>
                    </a:lnTo>
                    <a:lnTo>
                      <a:pt x="147" y="874"/>
                    </a:lnTo>
                    <a:lnTo>
                      <a:pt x="156" y="870"/>
                    </a:lnTo>
                    <a:lnTo>
                      <a:pt x="158" y="891"/>
                    </a:lnTo>
                    <a:lnTo>
                      <a:pt x="144" y="898"/>
                    </a:lnTo>
                    <a:lnTo>
                      <a:pt x="147" y="908"/>
                    </a:lnTo>
                    <a:lnTo>
                      <a:pt x="166" y="908"/>
                    </a:lnTo>
                    <a:lnTo>
                      <a:pt x="181" y="914"/>
                    </a:lnTo>
                    <a:lnTo>
                      <a:pt x="195" y="915"/>
                    </a:lnTo>
                    <a:lnTo>
                      <a:pt x="195" y="927"/>
                    </a:lnTo>
                    <a:lnTo>
                      <a:pt x="184" y="929"/>
                    </a:lnTo>
                    <a:lnTo>
                      <a:pt x="156" y="933"/>
                    </a:lnTo>
                    <a:lnTo>
                      <a:pt x="134" y="950"/>
                    </a:lnTo>
                    <a:lnTo>
                      <a:pt x="134" y="970"/>
                    </a:lnTo>
                    <a:lnTo>
                      <a:pt x="150" y="987"/>
                    </a:lnTo>
                    <a:lnTo>
                      <a:pt x="172" y="975"/>
                    </a:lnTo>
                    <a:lnTo>
                      <a:pt x="187" y="1000"/>
                    </a:lnTo>
                    <a:lnTo>
                      <a:pt x="188" y="1019"/>
                    </a:lnTo>
                    <a:lnTo>
                      <a:pt x="199" y="1026"/>
                    </a:lnTo>
                    <a:lnTo>
                      <a:pt x="220" y="1016"/>
                    </a:lnTo>
                    <a:lnTo>
                      <a:pt x="253" y="1014"/>
                    </a:lnTo>
                    <a:lnTo>
                      <a:pt x="261" y="986"/>
                    </a:lnTo>
                    <a:lnTo>
                      <a:pt x="265" y="966"/>
                    </a:lnTo>
                    <a:lnTo>
                      <a:pt x="284" y="923"/>
                    </a:lnTo>
                    <a:lnTo>
                      <a:pt x="294" y="920"/>
                    </a:lnTo>
                    <a:lnTo>
                      <a:pt x="301" y="932"/>
                    </a:lnTo>
                    <a:lnTo>
                      <a:pt x="310" y="924"/>
                    </a:lnTo>
                    <a:lnTo>
                      <a:pt x="309" y="915"/>
                    </a:lnTo>
                    <a:lnTo>
                      <a:pt x="309" y="902"/>
                    </a:lnTo>
                    <a:lnTo>
                      <a:pt x="325" y="908"/>
                    </a:lnTo>
                    <a:lnTo>
                      <a:pt x="339" y="914"/>
                    </a:lnTo>
                    <a:lnTo>
                      <a:pt x="342" y="905"/>
                    </a:lnTo>
                    <a:lnTo>
                      <a:pt x="334" y="894"/>
                    </a:lnTo>
                    <a:lnTo>
                      <a:pt x="322" y="874"/>
                    </a:lnTo>
                    <a:lnTo>
                      <a:pt x="344" y="882"/>
                    </a:lnTo>
                    <a:lnTo>
                      <a:pt x="356" y="861"/>
                    </a:lnTo>
                    <a:lnTo>
                      <a:pt x="352" y="840"/>
                    </a:lnTo>
                    <a:lnTo>
                      <a:pt x="373" y="844"/>
                    </a:lnTo>
                    <a:lnTo>
                      <a:pt x="373" y="810"/>
                    </a:lnTo>
                    <a:lnTo>
                      <a:pt x="361" y="777"/>
                    </a:lnTo>
                    <a:lnTo>
                      <a:pt x="378" y="740"/>
                    </a:lnTo>
                    <a:lnTo>
                      <a:pt x="385" y="746"/>
                    </a:lnTo>
                    <a:lnTo>
                      <a:pt x="379" y="778"/>
                    </a:lnTo>
                    <a:lnTo>
                      <a:pt x="386" y="802"/>
                    </a:lnTo>
                    <a:lnTo>
                      <a:pt x="386" y="836"/>
                    </a:lnTo>
                    <a:lnTo>
                      <a:pt x="380" y="876"/>
                    </a:lnTo>
                    <a:lnTo>
                      <a:pt x="398" y="903"/>
                    </a:lnTo>
                    <a:lnTo>
                      <a:pt x="415" y="899"/>
                    </a:lnTo>
                    <a:lnTo>
                      <a:pt x="453" y="899"/>
                    </a:lnTo>
                    <a:lnTo>
                      <a:pt x="472" y="903"/>
                    </a:lnTo>
                    <a:lnTo>
                      <a:pt x="490" y="896"/>
                    </a:lnTo>
                    <a:lnTo>
                      <a:pt x="488" y="874"/>
                    </a:lnTo>
                    <a:lnTo>
                      <a:pt x="502" y="880"/>
                    </a:lnTo>
                    <a:lnTo>
                      <a:pt x="510" y="870"/>
                    </a:lnTo>
                    <a:lnTo>
                      <a:pt x="506" y="861"/>
                    </a:lnTo>
                    <a:lnTo>
                      <a:pt x="505" y="845"/>
                    </a:lnTo>
                    <a:lnTo>
                      <a:pt x="513" y="826"/>
                    </a:lnTo>
                    <a:lnTo>
                      <a:pt x="530" y="822"/>
                    </a:lnTo>
                    <a:lnTo>
                      <a:pt x="534" y="809"/>
                    </a:lnTo>
                    <a:lnTo>
                      <a:pt x="519" y="807"/>
                    </a:lnTo>
                    <a:lnTo>
                      <a:pt x="513" y="796"/>
                    </a:lnTo>
                    <a:lnTo>
                      <a:pt x="520" y="780"/>
                    </a:lnTo>
                    <a:lnTo>
                      <a:pt x="532" y="755"/>
                    </a:lnTo>
                    <a:lnTo>
                      <a:pt x="542" y="744"/>
                    </a:lnTo>
                    <a:lnTo>
                      <a:pt x="565" y="740"/>
                    </a:lnTo>
                    <a:lnTo>
                      <a:pt x="580" y="720"/>
                    </a:lnTo>
                    <a:lnTo>
                      <a:pt x="589" y="710"/>
                    </a:lnTo>
                    <a:lnTo>
                      <a:pt x="607" y="689"/>
                    </a:lnTo>
                    <a:lnTo>
                      <a:pt x="615" y="680"/>
                    </a:lnTo>
                    <a:lnTo>
                      <a:pt x="625" y="682"/>
                    </a:lnTo>
                    <a:lnTo>
                      <a:pt x="645" y="684"/>
                    </a:lnTo>
                    <a:lnTo>
                      <a:pt x="662" y="668"/>
                    </a:lnTo>
                    <a:lnTo>
                      <a:pt x="669" y="640"/>
                    </a:lnTo>
                    <a:lnTo>
                      <a:pt x="682" y="615"/>
                    </a:lnTo>
                    <a:lnTo>
                      <a:pt x="700" y="609"/>
                    </a:lnTo>
                    <a:lnTo>
                      <a:pt x="708" y="621"/>
                    </a:lnTo>
                    <a:lnTo>
                      <a:pt x="711" y="640"/>
                    </a:lnTo>
                    <a:lnTo>
                      <a:pt x="739" y="626"/>
                    </a:lnTo>
                    <a:lnTo>
                      <a:pt x="748" y="628"/>
                    </a:lnTo>
                    <a:lnTo>
                      <a:pt x="756" y="634"/>
                    </a:lnTo>
                    <a:lnTo>
                      <a:pt x="759" y="696"/>
                    </a:lnTo>
                    <a:lnTo>
                      <a:pt x="778" y="701"/>
                    </a:lnTo>
                    <a:lnTo>
                      <a:pt x="775" y="711"/>
                    </a:lnTo>
                    <a:lnTo>
                      <a:pt x="763" y="712"/>
                    </a:lnTo>
                    <a:lnTo>
                      <a:pt x="753" y="707"/>
                    </a:lnTo>
                    <a:lnTo>
                      <a:pt x="734" y="714"/>
                    </a:lnTo>
                    <a:lnTo>
                      <a:pt x="722" y="681"/>
                    </a:lnTo>
                    <a:lnTo>
                      <a:pt x="723" y="666"/>
                    </a:lnTo>
                    <a:lnTo>
                      <a:pt x="714" y="662"/>
                    </a:lnTo>
                    <a:lnTo>
                      <a:pt x="704" y="670"/>
                    </a:lnTo>
                    <a:lnTo>
                      <a:pt x="691" y="686"/>
                    </a:lnTo>
                    <a:lnTo>
                      <a:pt x="688" y="714"/>
                    </a:lnTo>
                    <a:lnTo>
                      <a:pt x="692" y="752"/>
                    </a:lnTo>
                    <a:lnTo>
                      <a:pt x="680" y="778"/>
                    </a:lnTo>
                    <a:lnTo>
                      <a:pt x="436" y="329"/>
                    </a:lnTo>
                    <a:lnTo>
                      <a:pt x="398" y="317"/>
                    </a:lnTo>
                    <a:lnTo>
                      <a:pt x="373" y="304"/>
                    </a:lnTo>
                    <a:lnTo>
                      <a:pt x="361" y="255"/>
                    </a:lnTo>
                    <a:lnTo>
                      <a:pt x="388" y="233"/>
                    </a:lnTo>
                    <a:lnTo>
                      <a:pt x="412" y="212"/>
                    </a:lnTo>
                    <a:lnTo>
                      <a:pt x="454" y="207"/>
                    </a:lnTo>
                    <a:lnTo>
                      <a:pt x="496" y="212"/>
                    </a:lnTo>
                    <a:lnTo>
                      <a:pt x="519" y="236"/>
                    </a:lnTo>
                    <a:lnTo>
                      <a:pt x="522" y="291"/>
                    </a:lnTo>
                    <a:lnTo>
                      <a:pt x="511" y="309"/>
                    </a:lnTo>
                    <a:lnTo>
                      <a:pt x="469" y="326"/>
                    </a:lnTo>
                    <a:lnTo>
                      <a:pt x="436" y="329"/>
                    </a:lnTo>
                    <a:lnTo>
                      <a:pt x="680" y="778"/>
                    </a:lnTo>
                    <a:close/>
                  </a:path>
                </a:pathLst>
              </a:custGeom>
              <a:solidFill>
                <a:srgbClr val="EAEAEA"/>
              </a:solidFill>
              <a:ln w="9525" cmpd="sng">
                <a:solidFill>
                  <a:srgbClr val="777777"/>
                </a:solidFill>
                <a:round/>
                <a:headEnd/>
                <a:tailEnd/>
              </a:ln>
              <a:effectLst>
                <a:outerShdw dist="107763" dir="2700000" algn="ctr" rotWithShape="0">
                  <a:srgbClr val="808080">
                    <a:alpha val="50000"/>
                  </a:srgbClr>
                </a:outerShdw>
              </a:effectLst>
            </p:spPr>
            <p:txBody>
              <a:bodyPr/>
              <a:lstStyle/>
              <a:p>
                <a:pPr latinLnBrk="0">
                  <a:defRPr/>
                </a:pPr>
                <a:endParaRPr kumimoji="0" lang="ko-KR" altLang="en-US" dirty="0">
                  <a:ea typeface="+mn-ea"/>
                </a:endParaRPr>
              </a:p>
            </p:txBody>
          </p:sp>
          <p:sp>
            <p:nvSpPr>
              <p:cNvPr id="32" name="Freeform 18"/>
              <p:cNvSpPr>
                <a:spLocks/>
              </p:cNvSpPr>
              <p:nvPr/>
            </p:nvSpPr>
            <p:spPr bwMode="auto">
              <a:xfrm>
                <a:off x="2468680" y="4859633"/>
                <a:ext cx="1635831" cy="1122882"/>
              </a:xfrm>
              <a:custGeom>
                <a:avLst/>
                <a:gdLst/>
                <a:ahLst/>
                <a:cxnLst>
                  <a:cxn ang="0">
                    <a:pos x="726" y="874"/>
                  </a:cxn>
                  <a:cxn ang="0">
                    <a:pos x="801" y="874"/>
                  </a:cxn>
                  <a:cxn ang="0">
                    <a:pos x="778" y="773"/>
                  </a:cxn>
                  <a:cxn ang="0">
                    <a:pos x="883" y="753"/>
                  </a:cxn>
                  <a:cxn ang="0">
                    <a:pos x="835" y="704"/>
                  </a:cxn>
                  <a:cxn ang="0">
                    <a:pos x="807" y="632"/>
                  </a:cxn>
                  <a:cxn ang="0">
                    <a:pos x="817" y="594"/>
                  </a:cxn>
                  <a:cxn ang="0">
                    <a:pos x="933" y="617"/>
                  </a:cxn>
                  <a:cxn ang="0">
                    <a:pos x="922" y="647"/>
                  </a:cxn>
                  <a:cxn ang="0">
                    <a:pos x="921" y="702"/>
                  </a:cxn>
                  <a:cxn ang="0">
                    <a:pos x="1023" y="740"/>
                  </a:cxn>
                  <a:cxn ang="0">
                    <a:pos x="1101" y="742"/>
                  </a:cxn>
                  <a:cxn ang="0">
                    <a:pos x="1071" y="568"/>
                  </a:cxn>
                  <a:cxn ang="0">
                    <a:pos x="1004" y="555"/>
                  </a:cxn>
                  <a:cxn ang="0">
                    <a:pos x="936" y="471"/>
                  </a:cxn>
                  <a:cxn ang="0">
                    <a:pos x="1023" y="479"/>
                  </a:cxn>
                  <a:cxn ang="0">
                    <a:pos x="1102" y="400"/>
                  </a:cxn>
                  <a:cxn ang="0">
                    <a:pos x="801" y="134"/>
                  </a:cxn>
                  <a:cxn ang="0">
                    <a:pos x="570" y="54"/>
                  </a:cxn>
                  <a:cxn ang="0">
                    <a:pos x="384" y="0"/>
                  </a:cxn>
                  <a:cxn ang="0">
                    <a:pos x="157" y="51"/>
                  </a:cxn>
                  <a:cxn ang="0">
                    <a:pos x="126" y="88"/>
                  </a:cxn>
                  <a:cxn ang="0">
                    <a:pos x="154" y="137"/>
                  </a:cxn>
                  <a:cxn ang="0">
                    <a:pos x="72" y="154"/>
                  </a:cxn>
                  <a:cxn ang="0">
                    <a:pos x="84" y="244"/>
                  </a:cxn>
                  <a:cxn ang="0">
                    <a:pos x="97" y="315"/>
                  </a:cxn>
                  <a:cxn ang="0">
                    <a:pos x="112" y="384"/>
                  </a:cxn>
                  <a:cxn ang="0">
                    <a:pos x="74" y="365"/>
                  </a:cxn>
                  <a:cxn ang="0">
                    <a:pos x="34" y="336"/>
                  </a:cxn>
                  <a:cxn ang="0">
                    <a:pos x="34" y="483"/>
                  </a:cxn>
                  <a:cxn ang="0">
                    <a:pos x="84" y="479"/>
                  </a:cxn>
                  <a:cxn ang="0">
                    <a:pos x="76" y="597"/>
                  </a:cxn>
                  <a:cxn ang="0">
                    <a:pos x="206" y="687"/>
                  </a:cxn>
                  <a:cxn ang="0">
                    <a:pos x="182" y="724"/>
                  </a:cxn>
                  <a:cxn ang="0">
                    <a:pos x="108" y="730"/>
                  </a:cxn>
                  <a:cxn ang="0">
                    <a:pos x="92" y="776"/>
                  </a:cxn>
                  <a:cxn ang="0">
                    <a:pos x="8" y="659"/>
                  </a:cxn>
                  <a:cxn ang="0">
                    <a:pos x="28" y="788"/>
                  </a:cxn>
                  <a:cxn ang="0">
                    <a:pos x="86" y="808"/>
                  </a:cxn>
                  <a:cxn ang="0">
                    <a:pos x="128" y="816"/>
                  </a:cxn>
                  <a:cxn ang="0">
                    <a:pos x="195" y="803"/>
                  </a:cxn>
                  <a:cxn ang="0">
                    <a:pos x="142" y="856"/>
                  </a:cxn>
                  <a:cxn ang="0">
                    <a:pos x="147" y="908"/>
                  </a:cxn>
                  <a:cxn ang="0">
                    <a:pos x="156" y="933"/>
                  </a:cxn>
                  <a:cxn ang="0">
                    <a:pos x="188" y="1019"/>
                  </a:cxn>
                  <a:cxn ang="0">
                    <a:pos x="284" y="923"/>
                  </a:cxn>
                  <a:cxn ang="0">
                    <a:pos x="325" y="908"/>
                  </a:cxn>
                  <a:cxn ang="0">
                    <a:pos x="356" y="861"/>
                  </a:cxn>
                  <a:cxn ang="0">
                    <a:pos x="385" y="746"/>
                  </a:cxn>
                  <a:cxn ang="0">
                    <a:pos x="415" y="899"/>
                  </a:cxn>
                  <a:cxn ang="0">
                    <a:pos x="510" y="870"/>
                  </a:cxn>
                  <a:cxn ang="0">
                    <a:pos x="519" y="807"/>
                  </a:cxn>
                  <a:cxn ang="0">
                    <a:pos x="580" y="720"/>
                  </a:cxn>
                  <a:cxn ang="0">
                    <a:pos x="662" y="668"/>
                  </a:cxn>
                  <a:cxn ang="0">
                    <a:pos x="739" y="626"/>
                  </a:cxn>
                  <a:cxn ang="0">
                    <a:pos x="763" y="712"/>
                  </a:cxn>
                  <a:cxn ang="0">
                    <a:pos x="704" y="670"/>
                  </a:cxn>
                </a:cxnLst>
                <a:rect l="0" t="0" r="r" b="b"/>
                <a:pathLst>
                  <a:path w="1119" h="1026">
                    <a:moveTo>
                      <a:pt x="680" y="778"/>
                    </a:moveTo>
                    <a:lnTo>
                      <a:pt x="679" y="791"/>
                    </a:lnTo>
                    <a:lnTo>
                      <a:pt x="690" y="816"/>
                    </a:lnTo>
                    <a:lnTo>
                      <a:pt x="704" y="834"/>
                    </a:lnTo>
                    <a:lnTo>
                      <a:pt x="723" y="848"/>
                    </a:lnTo>
                    <a:lnTo>
                      <a:pt x="726" y="874"/>
                    </a:lnTo>
                    <a:lnTo>
                      <a:pt x="747" y="881"/>
                    </a:lnTo>
                    <a:lnTo>
                      <a:pt x="775" y="906"/>
                    </a:lnTo>
                    <a:lnTo>
                      <a:pt x="781" y="899"/>
                    </a:lnTo>
                    <a:lnTo>
                      <a:pt x="776" y="874"/>
                    </a:lnTo>
                    <a:lnTo>
                      <a:pt x="781" y="866"/>
                    </a:lnTo>
                    <a:lnTo>
                      <a:pt x="801" y="874"/>
                    </a:lnTo>
                    <a:lnTo>
                      <a:pt x="817" y="836"/>
                    </a:lnTo>
                    <a:lnTo>
                      <a:pt x="820" y="822"/>
                    </a:lnTo>
                    <a:lnTo>
                      <a:pt x="829" y="809"/>
                    </a:lnTo>
                    <a:lnTo>
                      <a:pt x="793" y="803"/>
                    </a:lnTo>
                    <a:lnTo>
                      <a:pt x="776" y="789"/>
                    </a:lnTo>
                    <a:lnTo>
                      <a:pt x="778" y="773"/>
                    </a:lnTo>
                    <a:lnTo>
                      <a:pt x="801" y="764"/>
                    </a:lnTo>
                    <a:lnTo>
                      <a:pt x="823" y="767"/>
                    </a:lnTo>
                    <a:lnTo>
                      <a:pt x="844" y="776"/>
                    </a:lnTo>
                    <a:lnTo>
                      <a:pt x="873" y="778"/>
                    </a:lnTo>
                    <a:lnTo>
                      <a:pt x="885" y="772"/>
                    </a:lnTo>
                    <a:lnTo>
                      <a:pt x="883" y="753"/>
                    </a:lnTo>
                    <a:lnTo>
                      <a:pt x="864" y="749"/>
                    </a:lnTo>
                    <a:lnTo>
                      <a:pt x="852" y="743"/>
                    </a:lnTo>
                    <a:lnTo>
                      <a:pt x="854" y="736"/>
                    </a:lnTo>
                    <a:lnTo>
                      <a:pt x="870" y="735"/>
                    </a:lnTo>
                    <a:lnTo>
                      <a:pt x="872" y="726"/>
                    </a:lnTo>
                    <a:lnTo>
                      <a:pt x="835" y="704"/>
                    </a:lnTo>
                    <a:lnTo>
                      <a:pt x="826" y="689"/>
                    </a:lnTo>
                    <a:lnTo>
                      <a:pt x="814" y="676"/>
                    </a:lnTo>
                    <a:lnTo>
                      <a:pt x="793" y="672"/>
                    </a:lnTo>
                    <a:lnTo>
                      <a:pt x="790" y="650"/>
                    </a:lnTo>
                    <a:lnTo>
                      <a:pt x="795" y="640"/>
                    </a:lnTo>
                    <a:lnTo>
                      <a:pt x="807" y="632"/>
                    </a:lnTo>
                    <a:lnTo>
                      <a:pt x="801" y="626"/>
                    </a:lnTo>
                    <a:lnTo>
                      <a:pt x="790" y="626"/>
                    </a:lnTo>
                    <a:lnTo>
                      <a:pt x="778" y="622"/>
                    </a:lnTo>
                    <a:lnTo>
                      <a:pt x="781" y="609"/>
                    </a:lnTo>
                    <a:lnTo>
                      <a:pt x="795" y="605"/>
                    </a:lnTo>
                    <a:lnTo>
                      <a:pt x="817" y="594"/>
                    </a:lnTo>
                    <a:lnTo>
                      <a:pt x="843" y="579"/>
                    </a:lnTo>
                    <a:lnTo>
                      <a:pt x="868" y="566"/>
                    </a:lnTo>
                    <a:lnTo>
                      <a:pt x="892" y="566"/>
                    </a:lnTo>
                    <a:lnTo>
                      <a:pt x="906" y="590"/>
                    </a:lnTo>
                    <a:lnTo>
                      <a:pt x="921" y="592"/>
                    </a:lnTo>
                    <a:lnTo>
                      <a:pt x="933" y="617"/>
                    </a:lnTo>
                    <a:lnTo>
                      <a:pt x="952" y="622"/>
                    </a:lnTo>
                    <a:lnTo>
                      <a:pt x="964" y="626"/>
                    </a:lnTo>
                    <a:lnTo>
                      <a:pt x="967" y="634"/>
                    </a:lnTo>
                    <a:lnTo>
                      <a:pt x="957" y="644"/>
                    </a:lnTo>
                    <a:lnTo>
                      <a:pt x="936" y="645"/>
                    </a:lnTo>
                    <a:lnTo>
                      <a:pt x="922" y="647"/>
                    </a:lnTo>
                    <a:lnTo>
                      <a:pt x="922" y="659"/>
                    </a:lnTo>
                    <a:lnTo>
                      <a:pt x="928" y="663"/>
                    </a:lnTo>
                    <a:lnTo>
                      <a:pt x="944" y="664"/>
                    </a:lnTo>
                    <a:lnTo>
                      <a:pt x="944" y="672"/>
                    </a:lnTo>
                    <a:lnTo>
                      <a:pt x="925" y="684"/>
                    </a:lnTo>
                    <a:lnTo>
                      <a:pt x="921" y="702"/>
                    </a:lnTo>
                    <a:lnTo>
                      <a:pt x="931" y="719"/>
                    </a:lnTo>
                    <a:lnTo>
                      <a:pt x="939" y="732"/>
                    </a:lnTo>
                    <a:lnTo>
                      <a:pt x="964" y="726"/>
                    </a:lnTo>
                    <a:lnTo>
                      <a:pt x="973" y="735"/>
                    </a:lnTo>
                    <a:lnTo>
                      <a:pt x="981" y="740"/>
                    </a:lnTo>
                    <a:lnTo>
                      <a:pt x="1023" y="740"/>
                    </a:lnTo>
                    <a:lnTo>
                      <a:pt x="1040" y="752"/>
                    </a:lnTo>
                    <a:lnTo>
                      <a:pt x="1059" y="768"/>
                    </a:lnTo>
                    <a:lnTo>
                      <a:pt x="1095" y="780"/>
                    </a:lnTo>
                    <a:lnTo>
                      <a:pt x="1113" y="780"/>
                    </a:lnTo>
                    <a:lnTo>
                      <a:pt x="1119" y="772"/>
                    </a:lnTo>
                    <a:lnTo>
                      <a:pt x="1101" y="742"/>
                    </a:lnTo>
                    <a:lnTo>
                      <a:pt x="1104" y="725"/>
                    </a:lnTo>
                    <a:lnTo>
                      <a:pt x="1092" y="710"/>
                    </a:lnTo>
                    <a:lnTo>
                      <a:pt x="1070" y="676"/>
                    </a:lnTo>
                    <a:lnTo>
                      <a:pt x="1070" y="647"/>
                    </a:lnTo>
                    <a:lnTo>
                      <a:pt x="1075" y="594"/>
                    </a:lnTo>
                    <a:lnTo>
                      <a:pt x="1071" y="568"/>
                    </a:lnTo>
                    <a:lnTo>
                      <a:pt x="1084" y="549"/>
                    </a:lnTo>
                    <a:lnTo>
                      <a:pt x="1070" y="538"/>
                    </a:lnTo>
                    <a:lnTo>
                      <a:pt x="1057" y="530"/>
                    </a:lnTo>
                    <a:lnTo>
                      <a:pt x="1032" y="543"/>
                    </a:lnTo>
                    <a:lnTo>
                      <a:pt x="1018" y="560"/>
                    </a:lnTo>
                    <a:lnTo>
                      <a:pt x="1004" y="555"/>
                    </a:lnTo>
                    <a:lnTo>
                      <a:pt x="992" y="561"/>
                    </a:lnTo>
                    <a:lnTo>
                      <a:pt x="982" y="556"/>
                    </a:lnTo>
                    <a:lnTo>
                      <a:pt x="978" y="543"/>
                    </a:lnTo>
                    <a:lnTo>
                      <a:pt x="952" y="525"/>
                    </a:lnTo>
                    <a:lnTo>
                      <a:pt x="931" y="496"/>
                    </a:lnTo>
                    <a:lnTo>
                      <a:pt x="936" y="471"/>
                    </a:lnTo>
                    <a:lnTo>
                      <a:pt x="952" y="467"/>
                    </a:lnTo>
                    <a:lnTo>
                      <a:pt x="961" y="488"/>
                    </a:lnTo>
                    <a:lnTo>
                      <a:pt x="986" y="494"/>
                    </a:lnTo>
                    <a:lnTo>
                      <a:pt x="1004" y="492"/>
                    </a:lnTo>
                    <a:lnTo>
                      <a:pt x="1012" y="489"/>
                    </a:lnTo>
                    <a:lnTo>
                      <a:pt x="1023" y="479"/>
                    </a:lnTo>
                    <a:lnTo>
                      <a:pt x="1036" y="464"/>
                    </a:lnTo>
                    <a:lnTo>
                      <a:pt x="1044" y="442"/>
                    </a:lnTo>
                    <a:lnTo>
                      <a:pt x="1065" y="430"/>
                    </a:lnTo>
                    <a:lnTo>
                      <a:pt x="1082" y="435"/>
                    </a:lnTo>
                    <a:lnTo>
                      <a:pt x="1102" y="428"/>
                    </a:lnTo>
                    <a:lnTo>
                      <a:pt x="1102" y="400"/>
                    </a:lnTo>
                    <a:lnTo>
                      <a:pt x="1020" y="305"/>
                    </a:lnTo>
                    <a:lnTo>
                      <a:pt x="980" y="236"/>
                    </a:lnTo>
                    <a:lnTo>
                      <a:pt x="944" y="150"/>
                    </a:lnTo>
                    <a:lnTo>
                      <a:pt x="877" y="105"/>
                    </a:lnTo>
                    <a:lnTo>
                      <a:pt x="836" y="113"/>
                    </a:lnTo>
                    <a:lnTo>
                      <a:pt x="801" y="134"/>
                    </a:lnTo>
                    <a:lnTo>
                      <a:pt x="757" y="138"/>
                    </a:lnTo>
                    <a:lnTo>
                      <a:pt x="718" y="136"/>
                    </a:lnTo>
                    <a:lnTo>
                      <a:pt x="668" y="117"/>
                    </a:lnTo>
                    <a:lnTo>
                      <a:pt x="592" y="138"/>
                    </a:lnTo>
                    <a:lnTo>
                      <a:pt x="572" y="111"/>
                    </a:lnTo>
                    <a:lnTo>
                      <a:pt x="570" y="54"/>
                    </a:lnTo>
                    <a:lnTo>
                      <a:pt x="543" y="26"/>
                    </a:lnTo>
                    <a:lnTo>
                      <a:pt x="518" y="47"/>
                    </a:lnTo>
                    <a:lnTo>
                      <a:pt x="494" y="57"/>
                    </a:lnTo>
                    <a:lnTo>
                      <a:pt x="462" y="18"/>
                    </a:lnTo>
                    <a:lnTo>
                      <a:pt x="415" y="0"/>
                    </a:lnTo>
                    <a:lnTo>
                      <a:pt x="384" y="0"/>
                    </a:lnTo>
                    <a:lnTo>
                      <a:pt x="324" y="100"/>
                    </a:lnTo>
                    <a:lnTo>
                      <a:pt x="256" y="158"/>
                    </a:lnTo>
                    <a:lnTo>
                      <a:pt x="204" y="150"/>
                    </a:lnTo>
                    <a:lnTo>
                      <a:pt x="170" y="126"/>
                    </a:lnTo>
                    <a:lnTo>
                      <a:pt x="165" y="87"/>
                    </a:lnTo>
                    <a:lnTo>
                      <a:pt x="157" y="51"/>
                    </a:lnTo>
                    <a:lnTo>
                      <a:pt x="122" y="29"/>
                    </a:lnTo>
                    <a:lnTo>
                      <a:pt x="117" y="56"/>
                    </a:lnTo>
                    <a:lnTo>
                      <a:pt x="102" y="71"/>
                    </a:lnTo>
                    <a:lnTo>
                      <a:pt x="100" y="84"/>
                    </a:lnTo>
                    <a:lnTo>
                      <a:pt x="109" y="96"/>
                    </a:lnTo>
                    <a:lnTo>
                      <a:pt x="126" y="88"/>
                    </a:lnTo>
                    <a:lnTo>
                      <a:pt x="147" y="83"/>
                    </a:lnTo>
                    <a:lnTo>
                      <a:pt x="156" y="93"/>
                    </a:lnTo>
                    <a:lnTo>
                      <a:pt x="138" y="105"/>
                    </a:lnTo>
                    <a:lnTo>
                      <a:pt x="128" y="117"/>
                    </a:lnTo>
                    <a:lnTo>
                      <a:pt x="139" y="131"/>
                    </a:lnTo>
                    <a:lnTo>
                      <a:pt x="154" y="137"/>
                    </a:lnTo>
                    <a:lnTo>
                      <a:pt x="153" y="146"/>
                    </a:lnTo>
                    <a:lnTo>
                      <a:pt x="138" y="150"/>
                    </a:lnTo>
                    <a:lnTo>
                      <a:pt x="122" y="144"/>
                    </a:lnTo>
                    <a:lnTo>
                      <a:pt x="102" y="117"/>
                    </a:lnTo>
                    <a:lnTo>
                      <a:pt x="84" y="131"/>
                    </a:lnTo>
                    <a:lnTo>
                      <a:pt x="72" y="154"/>
                    </a:lnTo>
                    <a:lnTo>
                      <a:pt x="84" y="182"/>
                    </a:lnTo>
                    <a:lnTo>
                      <a:pt x="80" y="192"/>
                    </a:lnTo>
                    <a:lnTo>
                      <a:pt x="51" y="196"/>
                    </a:lnTo>
                    <a:lnTo>
                      <a:pt x="49" y="228"/>
                    </a:lnTo>
                    <a:lnTo>
                      <a:pt x="68" y="239"/>
                    </a:lnTo>
                    <a:lnTo>
                      <a:pt x="84" y="244"/>
                    </a:lnTo>
                    <a:lnTo>
                      <a:pt x="68" y="252"/>
                    </a:lnTo>
                    <a:lnTo>
                      <a:pt x="67" y="262"/>
                    </a:lnTo>
                    <a:lnTo>
                      <a:pt x="79" y="282"/>
                    </a:lnTo>
                    <a:lnTo>
                      <a:pt x="84" y="303"/>
                    </a:lnTo>
                    <a:lnTo>
                      <a:pt x="102" y="302"/>
                    </a:lnTo>
                    <a:lnTo>
                      <a:pt x="97" y="315"/>
                    </a:lnTo>
                    <a:lnTo>
                      <a:pt x="97" y="326"/>
                    </a:lnTo>
                    <a:lnTo>
                      <a:pt x="129" y="333"/>
                    </a:lnTo>
                    <a:lnTo>
                      <a:pt x="129" y="340"/>
                    </a:lnTo>
                    <a:lnTo>
                      <a:pt x="117" y="354"/>
                    </a:lnTo>
                    <a:lnTo>
                      <a:pt x="129" y="362"/>
                    </a:lnTo>
                    <a:lnTo>
                      <a:pt x="112" y="384"/>
                    </a:lnTo>
                    <a:lnTo>
                      <a:pt x="116" y="390"/>
                    </a:lnTo>
                    <a:lnTo>
                      <a:pt x="110" y="402"/>
                    </a:lnTo>
                    <a:lnTo>
                      <a:pt x="96" y="393"/>
                    </a:lnTo>
                    <a:lnTo>
                      <a:pt x="93" y="376"/>
                    </a:lnTo>
                    <a:lnTo>
                      <a:pt x="79" y="357"/>
                    </a:lnTo>
                    <a:lnTo>
                      <a:pt x="74" y="365"/>
                    </a:lnTo>
                    <a:lnTo>
                      <a:pt x="61" y="369"/>
                    </a:lnTo>
                    <a:lnTo>
                      <a:pt x="54" y="346"/>
                    </a:lnTo>
                    <a:lnTo>
                      <a:pt x="49" y="322"/>
                    </a:lnTo>
                    <a:lnTo>
                      <a:pt x="51" y="294"/>
                    </a:lnTo>
                    <a:lnTo>
                      <a:pt x="44" y="286"/>
                    </a:lnTo>
                    <a:lnTo>
                      <a:pt x="34" y="336"/>
                    </a:lnTo>
                    <a:lnTo>
                      <a:pt x="51" y="383"/>
                    </a:lnTo>
                    <a:lnTo>
                      <a:pt x="70" y="395"/>
                    </a:lnTo>
                    <a:lnTo>
                      <a:pt x="63" y="413"/>
                    </a:lnTo>
                    <a:lnTo>
                      <a:pt x="34" y="429"/>
                    </a:lnTo>
                    <a:lnTo>
                      <a:pt x="20" y="450"/>
                    </a:lnTo>
                    <a:lnTo>
                      <a:pt x="34" y="483"/>
                    </a:lnTo>
                    <a:lnTo>
                      <a:pt x="60" y="489"/>
                    </a:lnTo>
                    <a:lnTo>
                      <a:pt x="70" y="462"/>
                    </a:lnTo>
                    <a:lnTo>
                      <a:pt x="75" y="442"/>
                    </a:lnTo>
                    <a:lnTo>
                      <a:pt x="100" y="432"/>
                    </a:lnTo>
                    <a:lnTo>
                      <a:pt x="117" y="446"/>
                    </a:lnTo>
                    <a:lnTo>
                      <a:pt x="84" y="479"/>
                    </a:lnTo>
                    <a:lnTo>
                      <a:pt x="90" y="504"/>
                    </a:lnTo>
                    <a:lnTo>
                      <a:pt x="109" y="516"/>
                    </a:lnTo>
                    <a:lnTo>
                      <a:pt x="99" y="530"/>
                    </a:lnTo>
                    <a:lnTo>
                      <a:pt x="97" y="557"/>
                    </a:lnTo>
                    <a:lnTo>
                      <a:pt x="84" y="569"/>
                    </a:lnTo>
                    <a:lnTo>
                      <a:pt x="76" y="597"/>
                    </a:lnTo>
                    <a:lnTo>
                      <a:pt x="70" y="651"/>
                    </a:lnTo>
                    <a:lnTo>
                      <a:pt x="70" y="668"/>
                    </a:lnTo>
                    <a:lnTo>
                      <a:pt x="92" y="684"/>
                    </a:lnTo>
                    <a:lnTo>
                      <a:pt x="129" y="684"/>
                    </a:lnTo>
                    <a:lnTo>
                      <a:pt x="184" y="692"/>
                    </a:lnTo>
                    <a:lnTo>
                      <a:pt x="206" y="687"/>
                    </a:lnTo>
                    <a:lnTo>
                      <a:pt x="214" y="710"/>
                    </a:lnTo>
                    <a:lnTo>
                      <a:pt x="222" y="725"/>
                    </a:lnTo>
                    <a:lnTo>
                      <a:pt x="255" y="744"/>
                    </a:lnTo>
                    <a:lnTo>
                      <a:pt x="246" y="749"/>
                    </a:lnTo>
                    <a:lnTo>
                      <a:pt x="201" y="726"/>
                    </a:lnTo>
                    <a:lnTo>
                      <a:pt x="182" y="724"/>
                    </a:lnTo>
                    <a:lnTo>
                      <a:pt x="183" y="735"/>
                    </a:lnTo>
                    <a:lnTo>
                      <a:pt x="175" y="738"/>
                    </a:lnTo>
                    <a:lnTo>
                      <a:pt x="150" y="725"/>
                    </a:lnTo>
                    <a:lnTo>
                      <a:pt x="130" y="710"/>
                    </a:lnTo>
                    <a:lnTo>
                      <a:pt x="109" y="716"/>
                    </a:lnTo>
                    <a:lnTo>
                      <a:pt x="108" y="730"/>
                    </a:lnTo>
                    <a:lnTo>
                      <a:pt x="132" y="744"/>
                    </a:lnTo>
                    <a:lnTo>
                      <a:pt x="144" y="755"/>
                    </a:lnTo>
                    <a:lnTo>
                      <a:pt x="141" y="766"/>
                    </a:lnTo>
                    <a:lnTo>
                      <a:pt x="133" y="770"/>
                    </a:lnTo>
                    <a:lnTo>
                      <a:pt x="112" y="772"/>
                    </a:lnTo>
                    <a:lnTo>
                      <a:pt x="92" y="776"/>
                    </a:lnTo>
                    <a:lnTo>
                      <a:pt x="67" y="744"/>
                    </a:lnTo>
                    <a:lnTo>
                      <a:pt x="54" y="710"/>
                    </a:lnTo>
                    <a:lnTo>
                      <a:pt x="46" y="684"/>
                    </a:lnTo>
                    <a:lnTo>
                      <a:pt x="46" y="651"/>
                    </a:lnTo>
                    <a:lnTo>
                      <a:pt x="28" y="626"/>
                    </a:lnTo>
                    <a:lnTo>
                      <a:pt x="8" y="659"/>
                    </a:lnTo>
                    <a:lnTo>
                      <a:pt x="3" y="684"/>
                    </a:lnTo>
                    <a:lnTo>
                      <a:pt x="0" y="718"/>
                    </a:lnTo>
                    <a:lnTo>
                      <a:pt x="25" y="740"/>
                    </a:lnTo>
                    <a:lnTo>
                      <a:pt x="26" y="748"/>
                    </a:lnTo>
                    <a:lnTo>
                      <a:pt x="16" y="760"/>
                    </a:lnTo>
                    <a:lnTo>
                      <a:pt x="28" y="788"/>
                    </a:lnTo>
                    <a:lnTo>
                      <a:pt x="46" y="797"/>
                    </a:lnTo>
                    <a:lnTo>
                      <a:pt x="58" y="792"/>
                    </a:lnTo>
                    <a:lnTo>
                      <a:pt x="64" y="797"/>
                    </a:lnTo>
                    <a:lnTo>
                      <a:pt x="64" y="806"/>
                    </a:lnTo>
                    <a:lnTo>
                      <a:pt x="74" y="809"/>
                    </a:lnTo>
                    <a:lnTo>
                      <a:pt x="86" y="808"/>
                    </a:lnTo>
                    <a:lnTo>
                      <a:pt x="90" y="815"/>
                    </a:lnTo>
                    <a:lnTo>
                      <a:pt x="86" y="825"/>
                    </a:lnTo>
                    <a:lnTo>
                      <a:pt x="102" y="826"/>
                    </a:lnTo>
                    <a:lnTo>
                      <a:pt x="108" y="816"/>
                    </a:lnTo>
                    <a:lnTo>
                      <a:pt x="122" y="810"/>
                    </a:lnTo>
                    <a:lnTo>
                      <a:pt x="128" y="816"/>
                    </a:lnTo>
                    <a:lnTo>
                      <a:pt x="150" y="820"/>
                    </a:lnTo>
                    <a:lnTo>
                      <a:pt x="153" y="802"/>
                    </a:lnTo>
                    <a:lnTo>
                      <a:pt x="169" y="803"/>
                    </a:lnTo>
                    <a:lnTo>
                      <a:pt x="181" y="800"/>
                    </a:lnTo>
                    <a:lnTo>
                      <a:pt x="194" y="795"/>
                    </a:lnTo>
                    <a:lnTo>
                      <a:pt x="195" y="803"/>
                    </a:lnTo>
                    <a:lnTo>
                      <a:pt x="188" y="820"/>
                    </a:lnTo>
                    <a:lnTo>
                      <a:pt x="195" y="828"/>
                    </a:lnTo>
                    <a:lnTo>
                      <a:pt x="192" y="837"/>
                    </a:lnTo>
                    <a:lnTo>
                      <a:pt x="176" y="837"/>
                    </a:lnTo>
                    <a:lnTo>
                      <a:pt x="158" y="843"/>
                    </a:lnTo>
                    <a:lnTo>
                      <a:pt x="142" y="856"/>
                    </a:lnTo>
                    <a:lnTo>
                      <a:pt x="135" y="870"/>
                    </a:lnTo>
                    <a:lnTo>
                      <a:pt x="147" y="874"/>
                    </a:lnTo>
                    <a:lnTo>
                      <a:pt x="156" y="870"/>
                    </a:lnTo>
                    <a:lnTo>
                      <a:pt x="158" y="891"/>
                    </a:lnTo>
                    <a:lnTo>
                      <a:pt x="144" y="898"/>
                    </a:lnTo>
                    <a:lnTo>
                      <a:pt x="147" y="908"/>
                    </a:lnTo>
                    <a:lnTo>
                      <a:pt x="166" y="908"/>
                    </a:lnTo>
                    <a:lnTo>
                      <a:pt x="181" y="914"/>
                    </a:lnTo>
                    <a:lnTo>
                      <a:pt x="195" y="915"/>
                    </a:lnTo>
                    <a:lnTo>
                      <a:pt x="195" y="927"/>
                    </a:lnTo>
                    <a:lnTo>
                      <a:pt x="184" y="929"/>
                    </a:lnTo>
                    <a:lnTo>
                      <a:pt x="156" y="933"/>
                    </a:lnTo>
                    <a:lnTo>
                      <a:pt x="134" y="950"/>
                    </a:lnTo>
                    <a:lnTo>
                      <a:pt x="134" y="970"/>
                    </a:lnTo>
                    <a:lnTo>
                      <a:pt x="150" y="987"/>
                    </a:lnTo>
                    <a:lnTo>
                      <a:pt x="172" y="975"/>
                    </a:lnTo>
                    <a:lnTo>
                      <a:pt x="187" y="1000"/>
                    </a:lnTo>
                    <a:lnTo>
                      <a:pt x="188" y="1019"/>
                    </a:lnTo>
                    <a:lnTo>
                      <a:pt x="199" y="1026"/>
                    </a:lnTo>
                    <a:lnTo>
                      <a:pt x="220" y="1016"/>
                    </a:lnTo>
                    <a:lnTo>
                      <a:pt x="253" y="1014"/>
                    </a:lnTo>
                    <a:lnTo>
                      <a:pt x="261" y="986"/>
                    </a:lnTo>
                    <a:lnTo>
                      <a:pt x="265" y="966"/>
                    </a:lnTo>
                    <a:lnTo>
                      <a:pt x="284" y="923"/>
                    </a:lnTo>
                    <a:lnTo>
                      <a:pt x="294" y="920"/>
                    </a:lnTo>
                    <a:lnTo>
                      <a:pt x="301" y="932"/>
                    </a:lnTo>
                    <a:lnTo>
                      <a:pt x="310" y="924"/>
                    </a:lnTo>
                    <a:lnTo>
                      <a:pt x="309" y="915"/>
                    </a:lnTo>
                    <a:lnTo>
                      <a:pt x="309" y="902"/>
                    </a:lnTo>
                    <a:lnTo>
                      <a:pt x="325" y="908"/>
                    </a:lnTo>
                    <a:lnTo>
                      <a:pt x="339" y="914"/>
                    </a:lnTo>
                    <a:lnTo>
                      <a:pt x="342" y="905"/>
                    </a:lnTo>
                    <a:lnTo>
                      <a:pt x="334" y="894"/>
                    </a:lnTo>
                    <a:lnTo>
                      <a:pt x="322" y="874"/>
                    </a:lnTo>
                    <a:lnTo>
                      <a:pt x="344" y="882"/>
                    </a:lnTo>
                    <a:lnTo>
                      <a:pt x="356" y="861"/>
                    </a:lnTo>
                    <a:lnTo>
                      <a:pt x="352" y="840"/>
                    </a:lnTo>
                    <a:lnTo>
                      <a:pt x="373" y="844"/>
                    </a:lnTo>
                    <a:lnTo>
                      <a:pt x="373" y="810"/>
                    </a:lnTo>
                    <a:lnTo>
                      <a:pt x="361" y="777"/>
                    </a:lnTo>
                    <a:lnTo>
                      <a:pt x="378" y="740"/>
                    </a:lnTo>
                    <a:lnTo>
                      <a:pt x="385" y="746"/>
                    </a:lnTo>
                    <a:lnTo>
                      <a:pt x="379" y="778"/>
                    </a:lnTo>
                    <a:lnTo>
                      <a:pt x="386" y="802"/>
                    </a:lnTo>
                    <a:lnTo>
                      <a:pt x="386" y="836"/>
                    </a:lnTo>
                    <a:lnTo>
                      <a:pt x="380" y="876"/>
                    </a:lnTo>
                    <a:lnTo>
                      <a:pt x="398" y="903"/>
                    </a:lnTo>
                    <a:lnTo>
                      <a:pt x="415" y="899"/>
                    </a:lnTo>
                    <a:lnTo>
                      <a:pt x="453" y="899"/>
                    </a:lnTo>
                    <a:lnTo>
                      <a:pt x="472" y="903"/>
                    </a:lnTo>
                    <a:lnTo>
                      <a:pt x="490" y="896"/>
                    </a:lnTo>
                    <a:lnTo>
                      <a:pt x="488" y="874"/>
                    </a:lnTo>
                    <a:lnTo>
                      <a:pt x="502" y="880"/>
                    </a:lnTo>
                    <a:lnTo>
                      <a:pt x="510" y="870"/>
                    </a:lnTo>
                    <a:lnTo>
                      <a:pt x="506" y="861"/>
                    </a:lnTo>
                    <a:lnTo>
                      <a:pt x="505" y="845"/>
                    </a:lnTo>
                    <a:lnTo>
                      <a:pt x="513" y="826"/>
                    </a:lnTo>
                    <a:lnTo>
                      <a:pt x="530" y="822"/>
                    </a:lnTo>
                    <a:lnTo>
                      <a:pt x="534" y="809"/>
                    </a:lnTo>
                    <a:lnTo>
                      <a:pt x="519" y="807"/>
                    </a:lnTo>
                    <a:lnTo>
                      <a:pt x="513" y="796"/>
                    </a:lnTo>
                    <a:lnTo>
                      <a:pt x="520" y="780"/>
                    </a:lnTo>
                    <a:lnTo>
                      <a:pt x="532" y="755"/>
                    </a:lnTo>
                    <a:lnTo>
                      <a:pt x="542" y="744"/>
                    </a:lnTo>
                    <a:lnTo>
                      <a:pt x="565" y="740"/>
                    </a:lnTo>
                    <a:lnTo>
                      <a:pt x="580" y="720"/>
                    </a:lnTo>
                    <a:lnTo>
                      <a:pt x="589" y="710"/>
                    </a:lnTo>
                    <a:lnTo>
                      <a:pt x="607" y="689"/>
                    </a:lnTo>
                    <a:lnTo>
                      <a:pt x="615" y="680"/>
                    </a:lnTo>
                    <a:lnTo>
                      <a:pt x="625" y="682"/>
                    </a:lnTo>
                    <a:lnTo>
                      <a:pt x="645" y="684"/>
                    </a:lnTo>
                    <a:lnTo>
                      <a:pt x="662" y="668"/>
                    </a:lnTo>
                    <a:lnTo>
                      <a:pt x="669" y="640"/>
                    </a:lnTo>
                    <a:lnTo>
                      <a:pt x="682" y="615"/>
                    </a:lnTo>
                    <a:lnTo>
                      <a:pt x="700" y="609"/>
                    </a:lnTo>
                    <a:lnTo>
                      <a:pt x="708" y="621"/>
                    </a:lnTo>
                    <a:lnTo>
                      <a:pt x="711" y="640"/>
                    </a:lnTo>
                    <a:lnTo>
                      <a:pt x="739" y="626"/>
                    </a:lnTo>
                    <a:lnTo>
                      <a:pt x="748" y="628"/>
                    </a:lnTo>
                    <a:lnTo>
                      <a:pt x="756" y="634"/>
                    </a:lnTo>
                    <a:lnTo>
                      <a:pt x="759" y="696"/>
                    </a:lnTo>
                    <a:lnTo>
                      <a:pt x="778" y="701"/>
                    </a:lnTo>
                    <a:lnTo>
                      <a:pt x="775" y="711"/>
                    </a:lnTo>
                    <a:lnTo>
                      <a:pt x="763" y="712"/>
                    </a:lnTo>
                    <a:lnTo>
                      <a:pt x="753" y="707"/>
                    </a:lnTo>
                    <a:lnTo>
                      <a:pt x="734" y="714"/>
                    </a:lnTo>
                    <a:lnTo>
                      <a:pt x="722" y="681"/>
                    </a:lnTo>
                    <a:lnTo>
                      <a:pt x="723" y="666"/>
                    </a:lnTo>
                    <a:lnTo>
                      <a:pt x="714" y="662"/>
                    </a:lnTo>
                    <a:lnTo>
                      <a:pt x="704" y="670"/>
                    </a:lnTo>
                    <a:lnTo>
                      <a:pt x="691" y="686"/>
                    </a:lnTo>
                    <a:lnTo>
                      <a:pt x="688" y="714"/>
                    </a:lnTo>
                    <a:lnTo>
                      <a:pt x="692" y="752"/>
                    </a:lnTo>
                    <a:lnTo>
                      <a:pt x="680" y="778"/>
                    </a:lnTo>
                    <a:close/>
                  </a:path>
                </a:pathLst>
              </a:custGeom>
              <a:solidFill>
                <a:srgbClr val="EAEAEA"/>
              </a:solidFill>
              <a:ln w="9525" cmpd="sng">
                <a:solidFill>
                  <a:srgbClr val="777777"/>
                </a:solidFill>
                <a:prstDash val="solid"/>
                <a:round/>
                <a:headEnd/>
                <a:tailEnd/>
              </a:ln>
              <a:effectLst>
                <a:outerShdw dist="107763" dir="2700000" algn="ctr" rotWithShape="0">
                  <a:srgbClr val="808080">
                    <a:alpha val="50000"/>
                  </a:srgbClr>
                </a:outerShdw>
              </a:effectLst>
            </p:spPr>
            <p:txBody>
              <a:bodyPr/>
              <a:lstStyle/>
              <a:p>
                <a:pPr latinLnBrk="0">
                  <a:defRPr/>
                </a:pPr>
                <a:endParaRPr kumimoji="0" lang="ko-KR" altLang="en-US" dirty="0">
                  <a:ea typeface="+mn-ea"/>
                </a:endParaRPr>
              </a:p>
            </p:txBody>
          </p:sp>
          <p:sp>
            <p:nvSpPr>
              <p:cNvPr id="33" name="Freeform 20"/>
              <p:cNvSpPr>
                <a:spLocks/>
              </p:cNvSpPr>
              <p:nvPr/>
            </p:nvSpPr>
            <p:spPr bwMode="auto">
              <a:xfrm>
                <a:off x="3702813" y="5463562"/>
                <a:ext cx="272638" cy="139602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20" y="58"/>
                  </a:cxn>
                  <a:cxn ang="0">
                    <a:pos x="50" y="100"/>
                  </a:cxn>
                  <a:cxn ang="0">
                    <a:pos x="71" y="100"/>
                  </a:cxn>
                  <a:cxn ang="0">
                    <a:pos x="84" y="83"/>
                  </a:cxn>
                  <a:cxn ang="0">
                    <a:pos x="96" y="63"/>
                  </a:cxn>
                  <a:cxn ang="0">
                    <a:pos x="104" y="79"/>
                  </a:cxn>
                  <a:cxn ang="0">
                    <a:pos x="109" y="113"/>
                  </a:cxn>
                  <a:cxn ang="0">
                    <a:pos x="122" y="130"/>
                  </a:cxn>
                  <a:cxn ang="0">
                    <a:pos x="147" y="130"/>
                  </a:cxn>
                  <a:cxn ang="0">
                    <a:pos x="176" y="130"/>
                  </a:cxn>
                  <a:cxn ang="0">
                    <a:pos x="176" y="100"/>
                  </a:cxn>
                  <a:cxn ang="0">
                    <a:pos x="168" y="83"/>
                  </a:cxn>
                  <a:cxn ang="0">
                    <a:pos x="176" y="66"/>
                  </a:cxn>
                  <a:cxn ang="0">
                    <a:pos x="185" y="37"/>
                  </a:cxn>
                  <a:cxn ang="0">
                    <a:pos x="176" y="24"/>
                  </a:cxn>
                  <a:cxn ang="0">
                    <a:pos x="164" y="0"/>
                  </a:cxn>
                  <a:cxn ang="0">
                    <a:pos x="176" y="24"/>
                  </a:cxn>
                  <a:cxn ang="0">
                    <a:pos x="185" y="37"/>
                  </a:cxn>
                  <a:cxn ang="0">
                    <a:pos x="176" y="66"/>
                  </a:cxn>
                  <a:cxn ang="0">
                    <a:pos x="168" y="83"/>
                  </a:cxn>
                  <a:cxn ang="0">
                    <a:pos x="176" y="100"/>
                  </a:cxn>
                  <a:cxn ang="0">
                    <a:pos x="176" y="130"/>
                  </a:cxn>
                  <a:cxn ang="0">
                    <a:pos x="147" y="130"/>
                  </a:cxn>
                  <a:cxn ang="0">
                    <a:pos x="122" y="130"/>
                  </a:cxn>
                  <a:cxn ang="0">
                    <a:pos x="109" y="113"/>
                  </a:cxn>
                  <a:cxn ang="0">
                    <a:pos x="104" y="79"/>
                  </a:cxn>
                  <a:cxn ang="0">
                    <a:pos x="96" y="63"/>
                  </a:cxn>
                  <a:cxn ang="0">
                    <a:pos x="84" y="83"/>
                  </a:cxn>
                  <a:cxn ang="0">
                    <a:pos x="71" y="100"/>
                  </a:cxn>
                  <a:cxn ang="0">
                    <a:pos x="50" y="100"/>
                  </a:cxn>
                  <a:cxn ang="0">
                    <a:pos x="20" y="58"/>
                  </a:cxn>
                  <a:cxn ang="0">
                    <a:pos x="0" y="12"/>
                  </a:cxn>
                </a:cxnLst>
                <a:rect l="0" t="0" r="r" b="b"/>
                <a:pathLst>
                  <a:path w="185" h="130">
                    <a:moveTo>
                      <a:pt x="0" y="12"/>
                    </a:moveTo>
                    <a:lnTo>
                      <a:pt x="20" y="58"/>
                    </a:lnTo>
                    <a:lnTo>
                      <a:pt x="50" y="100"/>
                    </a:lnTo>
                    <a:lnTo>
                      <a:pt x="71" y="100"/>
                    </a:lnTo>
                    <a:lnTo>
                      <a:pt x="84" y="83"/>
                    </a:lnTo>
                    <a:lnTo>
                      <a:pt x="96" y="63"/>
                    </a:lnTo>
                    <a:lnTo>
                      <a:pt x="104" y="79"/>
                    </a:lnTo>
                    <a:lnTo>
                      <a:pt x="109" y="113"/>
                    </a:lnTo>
                    <a:lnTo>
                      <a:pt x="122" y="130"/>
                    </a:lnTo>
                    <a:lnTo>
                      <a:pt x="147" y="130"/>
                    </a:lnTo>
                    <a:lnTo>
                      <a:pt x="176" y="130"/>
                    </a:lnTo>
                    <a:lnTo>
                      <a:pt x="176" y="100"/>
                    </a:lnTo>
                    <a:lnTo>
                      <a:pt x="168" y="83"/>
                    </a:lnTo>
                    <a:lnTo>
                      <a:pt x="176" y="66"/>
                    </a:lnTo>
                    <a:lnTo>
                      <a:pt x="185" y="37"/>
                    </a:lnTo>
                    <a:lnTo>
                      <a:pt x="176" y="24"/>
                    </a:lnTo>
                    <a:lnTo>
                      <a:pt x="164" y="0"/>
                    </a:lnTo>
                    <a:lnTo>
                      <a:pt x="176" y="24"/>
                    </a:lnTo>
                    <a:lnTo>
                      <a:pt x="185" y="37"/>
                    </a:lnTo>
                    <a:lnTo>
                      <a:pt x="176" y="66"/>
                    </a:lnTo>
                    <a:lnTo>
                      <a:pt x="168" y="83"/>
                    </a:lnTo>
                    <a:lnTo>
                      <a:pt x="176" y="100"/>
                    </a:lnTo>
                    <a:lnTo>
                      <a:pt x="176" y="130"/>
                    </a:lnTo>
                    <a:lnTo>
                      <a:pt x="147" y="130"/>
                    </a:lnTo>
                    <a:lnTo>
                      <a:pt x="122" y="130"/>
                    </a:lnTo>
                    <a:lnTo>
                      <a:pt x="109" y="113"/>
                    </a:lnTo>
                    <a:lnTo>
                      <a:pt x="104" y="79"/>
                    </a:lnTo>
                    <a:lnTo>
                      <a:pt x="96" y="63"/>
                    </a:lnTo>
                    <a:lnTo>
                      <a:pt x="84" y="83"/>
                    </a:lnTo>
                    <a:lnTo>
                      <a:pt x="71" y="100"/>
                    </a:lnTo>
                    <a:lnTo>
                      <a:pt x="50" y="100"/>
                    </a:lnTo>
                    <a:lnTo>
                      <a:pt x="20" y="58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rgbClr val="EAEAEA"/>
              </a:solidFill>
              <a:ln w="9525" cmpd="sng">
                <a:solidFill>
                  <a:srgbClr val="777777"/>
                </a:solidFill>
                <a:prstDash val="solid"/>
                <a:round/>
                <a:headEnd/>
                <a:tailEnd/>
              </a:ln>
              <a:effectLst>
                <a:outerShdw dist="107763" dir="2700000" algn="ctr" rotWithShape="0">
                  <a:srgbClr val="808080">
                    <a:alpha val="50000"/>
                  </a:srgbClr>
                </a:outerShdw>
              </a:effectLst>
            </p:spPr>
            <p:txBody>
              <a:bodyPr/>
              <a:lstStyle/>
              <a:p>
                <a:pPr latinLnBrk="0">
                  <a:defRPr/>
                </a:pPr>
                <a:endParaRPr kumimoji="0" lang="ko-KR" altLang="en-US" dirty="0">
                  <a:ea typeface="+mn-ea"/>
                </a:endParaRPr>
              </a:p>
            </p:txBody>
          </p:sp>
          <p:sp>
            <p:nvSpPr>
              <p:cNvPr id="120875" name="Freeform 21"/>
              <p:cNvSpPr>
                <a:spLocks/>
              </p:cNvSpPr>
              <p:nvPr/>
            </p:nvSpPr>
            <p:spPr bwMode="auto">
              <a:xfrm>
                <a:off x="2635268" y="2274909"/>
                <a:ext cx="1408112" cy="1225550"/>
              </a:xfrm>
              <a:custGeom>
                <a:avLst/>
                <a:gdLst>
                  <a:gd name="T0" fmla="*/ 2147483647 w 963"/>
                  <a:gd name="T1" fmla="*/ 2147483647 h 1121"/>
                  <a:gd name="T2" fmla="*/ 2147483647 w 963"/>
                  <a:gd name="T3" fmla="*/ 2147483647 h 1121"/>
                  <a:gd name="T4" fmla="*/ 2147483647 w 963"/>
                  <a:gd name="T5" fmla="*/ 2147483647 h 1121"/>
                  <a:gd name="T6" fmla="*/ 2147483647 w 963"/>
                  <a:gd name="T7" fmla="*/ 2147483647 h 1121"/>
                  <a:gd name="T8" fmla="*/ 2147483647 w 963"/>
                  <a:gd name="T9" fmla="*/ 2147483647 h 1121"/>
                  <a:gd name="T10" fmla="*/ 2147483647 w 963"/>
                  <a:gd name="T11" fmla="*/ 2147483647 h 1121"/>
                  <a:gd name="T12" fmla="*/ 2147483647 w 963"/>
                  <a:gd name="T13" fmla="*/ 2147483647 h 1121"/>
                  <a:gd name="T14" fmla="*/ 2147483647 w 963"/>
                  <a:gd name="T15" fmla="*/ 2147483647 h 1121"/>
                  <a:gd name="T16" fmla="*/ 2147483647 w 963"/>
                  <a:gd name="T17" fmla="*/ 2147483647 h 1121"/>
                  <a:gd name="T18" fmla="*/ 2147483647 w 963"/>
                  <a:gd name="T19" fmla="*/ 2147483647 h 1121"/>
                  <a:gd name="T20" fmla="*/ 2147483647 w 963"/>
                  <a:gd name="T21" fmla="*/ 2147483647 h 1121"/>
                  <a:gd name="T22" fmla="*/ 2147483647 w 963"/>
                  <a:gd name="T23" fmla="*/ 2147483647 h 1121"/>
                  <a:gd name="T24" fmla="*/ 2147483647 w 963"/>
                  <a:gd name="T25" fmla="*/ 2147483647 h 1121"/>
                  <a:gd name="T26" fmla="*/ 2147483647 w 963"/>
                  <a:gd name="T27" fmla="*/ 2147483647 h 1121"/>
                  <a:gd name="T28" fmla="*/ 2147483647 w 963"/>
                  <a:gd name="T29" fmla="*/ 2147483647 h 1121"/>
                  <a:gd name="T30" fmla="*/ 2147483647 w 963"/>
                  <a:gd name="T31" fmla="*/ 2147483647 h 1121"/>
                  <a:gd name="T32" fmla="*/ 2147483647 w 963"/>
                  <a:gd name="T33" fmla="*/ 2147483647 h 1121"/>
                  <a:gd name="T34" fmla="*/ 2147483647 w 963"/>
                  <a:gd name="T35" fmla="*/ 2147483647 h 1121"/>
                  <a:gd name="T36" fmla="*/ 2147483647 w 963"/>
                  <a:gd name="T37" fmla="*/ 2147483647 h 1121"/>
                  <a:gd name="T38" fmla="*/ 2147483647 w 963"/>
                  <a:gd name="T39" fmla="*/ 2147483647 h 1121"/>
                  <a:gd name="T40" fmla="*/ 2147483647 w 963"/>
                  <a:gd name="T41" fmla="*/ 2147483647 h 1121"/>
                  <a:gd name="T42" fmla="*/ 2147483647 w 963"/>
                  <a:gd name="T43" fmla="*/ 2147483647 h 1121"/>
                  <a:gd name="T44" fmla="*/ 2147483647 w 963"/>
                  <a:gd name="T45" fmla="*/ 2147483647 h 1121"/>
                  <a:gd name="T46" fmla="*/ 2147483647 w 963"/>
                  <a:gd name="T47" fmla="*/ 2147483647 h 1121"/>
                  <a:gd name="T48" fmla="*/ 2147483647 w 963"/>
                  <a:gd name="T49" fmla="*/ 2147483647 h 1121"/>
                  <a:gd name="T50" fmla="*/ 2147483647 w 963"/>
                  <a:gd name="T51" fmla="*/ 2147483647 h 1121"/>
                  <a:gd name="T52" fmla="*/ 2147483647 w 963"/>
                  <a:gd name="T53" fmla="*/ 2147483647 h 1121"/>
                  <a:gd name="T54" fmla="*/ 2147483647 w 963"/>
                  <a:gd name="T55" fmla="*/ 2147483647 h 1121"/>
                  <a:gd name="T56" fmla="*/ 2147483647 w 963"/>
                  <a:gd name="T57" fmla="*/ 2147483647 h 1121"/>
                  <a:gd name="T58" fmla="*/ 2147483647 w 963"/>
                  <a:gd name="T59" fmla="*/ 2147483647 h 1121"/>
                  <a:gd name="T60" fmla="*/ 2147483647 w 963"/>
                  <a:gd name="T61" fmla="*/ 2147483647 h 1121"/>
                  <a:gd name="T62" fmla="*/ 2147483647 w 963"/>
                  <a:gd name="T63" fmla="*/ 2147483647 h 1121"/>
                  <a:gd name="T64" fmla="*/ 2147483647 w 963"/>
                  <a:gd name="T65" fmla="*/ 2147483647 h 1121"/>
                  <a:gd name="T66" fmla="*/ 2147483647 w 963"/>
                  <a:gd name="T67" fmla="*/ 2147483647 h 1121"/>
                  <a:gd name="T68" fmla="*/ 2147483647 w 963"/>
                  <a:gd name="T69" fmla="*/ 2147483647 h 1121"/>
                  <a:gd name="T70" fmla="*/ 2147483647 w 963"/>
                  <a:gd name="T71" fmla="*/ 2147483647 h 1121"/>
                  <a:gd name="T72" fmla="*/ 2147483647 w 963"/>
                  <a:gd name="T73" fmla="*/ 2147483647 h 1121"/>
                  <a:gd name="T74" fmla="*/ 2147483647 w 963"/>
                  <a:gd name="T75" fmla="*/ 2147483647 h 1121"/>
                  <a:gd name="T76" fmla="*/ 2147483647 w 963"/>
                  <a:gd name="T77" fmla="*/ 2147483647 h 1121"/>
                  <a:gd name="T78" fmla="*/ 2147483647 w 963"/>
                  <a:gd name="T79" fmla="*/ 2147483647 h 1121"/>
                  <a:gd name="T80" fmla="*/ 2147483647 w 963"/>
                  <a:gd name="T81" fmla="*/ 2147483647 h 1121"/>
                  <a:gd name="T82" fmla="*/ 2147483647 w 963"/>
                  <a:gd name="T83" fmla="*/ 2147483647 h 1121"/>
                  <a:gd name="T84" fmla="*/ 2147483647 w 963"/>
                  <a:gd name="T85" fmla="*/ 2147483647 h 1121"/>
                  <a:gd name="T86" fmla="*/ 2147483647 w 963"/>
                  <a:gd name="T87" fmla="*/ 2147483647 h 1121"/>
                  <a:gd name="T88" fmla="*/ 2147483647 w 963"/>
                  <a:gd name="T89" fmla="*/ 2147483647 h 1121"/>
                  <a:gd name="T90" fmla="*/ 2147483647 w 963"/>
                  <a:gd name="T91" fmla="*/ 2147483647 h 1121"/>
                  <a:gd name="T92" fmla="*/ 2147483647 w 963"/>
                  <a:gd name="T93" fmla="*/ 2147483647 h 1121"/>
                  <a:gd name="T94" fmla="*/ 2147483647 w 963"/>
                  <a:gd name="T95" fmla="*/ 2147483647 h 1121"/>
                  <a:gd name="T96" fmla="*/ 2147483647 w 963"/>
                  <a:gd name="T97" fmla="*/ 2147483647 h 1121"/>
                  <a:gd name="T98" fmla="*/ 2147483647 w 963"/>
                  <a:gd name="T99" fmla="*/ 2147483647 h 1121"/>
                  <a:gd name="T100" fmla="*/ 2147483647 w 963"/>
                  <a:gd name="T101" fmla="*/ 2147483647 h 1121"/>
                  <a:gd name="T102" fmla="*/ 2147483647 w 963"/>
                  <a:gd name="T103" fmla="*/ 2147483647 h 1121"/>
                  <a:gd name="T104" fmla="*/ 2147483647 w 963"/>
                  <a:gd name="T105" fmla="*/ 2147483647 h 1121"/>
                  <a:gd name="T106" fmla="*/ 2147483647 w 963"/>
                  <a:gd name="T107" fmla="*/ 2147483647 h 1121"/>
                  <a:gd name="T108" fmla="*/ 2147483647 w 963"/>
                  <a:gd name="T109" fmla="*/ 2147483647 h 1121"/>
                  <a:gd name="T110" fmla="*/ 2147483647 w 963"/>
                  <a:gd name="T111" fmla="*/ 2147483647 h 1121"/>
                  <a:gd name="T112" fmla="*/ 2147483647 w 963"/>
                  <a:gd name="T113" fmla="*/ 2147483647 h 1121"/>
                  <a:gd name="T114" fmla="*/ 2147483647 w 963"/>
                  <a:gd name="T115" fmla="*/ 2147483647 h 1121"/>
                  <a:gd name="T116" fmla="*/ 2147483647 w 963"/>
                  <a:gd name="T117" fmla="*/ 2147483647 h 1121"/>
                  <a:gd name="T118" fmla="*/ 2147483647 w 963"/>
                  <a:gd name="T119" fmla="*/ 2147483647 h 1121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963"/>
                  <a:gd name="T181" fmla="*/ 0 h 1121"/>
                  <a:gd name="T182" fmla="*/ 963 w 963"/>
                  <a:gd name="T183" fmla="*/ 1121 h 1121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963" h="1121">
                    <a:moveTo>
                      <a:pt x="3" y="334"/>
                    </a:moveTo>
                    <a:lnTo>
                      <a:pt x="0" y="324"/>
                    </a:lnTo>
                    <a:lnTo>
                      <a:pt x="64" y="291"/>
                    </a:lnTo>
                    <a:lnTo>
                      <a:pt x="184" y="256"/>
                    </a:lnTo>
                    <a:lnTo>
                      <a:pt x="286" y="206"/>
                    </a:lnTo>
                    <a:lnTo>
                      <a:pt x="343" y="120"/>
                    </a:lnTo>
                    <a:lnTo>
                      <a:pt x="360" y="0"/>
                    </a:lnTo>
                    <a:lnTo>
                      <a:pt x="405" y="12"/>
                    </a:lnTo>
                    <a:lnTo>
                      <a:pt x="451" y="71"/>
                    </a:lnTo>
                    <a:lnTo>
                      <a:pt x="484" y="92"/>
                    </a:lnTo>
                    <a:lnTo>
                      <a:pt x="530" y="80"/>
                    </a:lnTo>
                    <a:lnTo>
                      <a:pt x="546" y="46"/>
                    </a:lnTo>
                    <a:lnTo>
                      <a:pt x="584" y="51"/>
                    </a:lnTo>
                    <a:lnTo>
                      <a:pt x="601" y="83"/>
                    </a:lnTo>
                    <a:lnTo>
                      <a:pt x="631" y="96"/>
                    </a:lnTo>
                    <a:lnTo>
                      <a:pt x="672" y="108"/>
                    </a:lnTo>
                    <a:lnTo>
                      <a:pt x="714" y="167"/>
                    </a:lnTo>
                    <a:lnTo>
                      <a:pt x="771" y="196"/>
                    </a:lnTo>
                    <a:lnTo>
                      <a:pt x="813" y="216"/>
                    </a:lnTo>
                    <a:lnTo>
                      <a:pt x="825" y="255"/>
                    </a:lnTo>
                    <a:lnTo>
                      <a:pt x="793" y="300"/>
                    </a:lnTo>
                    <a:lnTo>
                      <a:pt x="771" y="351"/>
                    </a:lnTo>
                    <a:lnTo>
                      <a:pt x="768" y="380"/>
                    </a:lnTo>
                    <a:lnTo>
                      <a:pt x="771" y="454"/>
                    </a:lnTo>
                    <a:lnTo>
                      <a:pt x="801" y="496"/>
                    </a:lnTo>
                    <a:lnTo>
                      <a:pt x="872" y="518"/>
                    </a:lnTo>
                    <a:lnTo>
                      <a:pt x="951" y="543"/>
                    </a:lnTo>
                    <a:lnTo>
                      <a:pt x="963" y="567"/>
                    </a:lnTo>
                    <a:lnTo>
                      <a:pt x="960" y="592"/>
                    </a:lnTo>
                    <a:lnTo>
                      <a:pt x="938" y="621"/>
                    </a:lnTo>
                    <a:lnTo>
                      <a:pt x="938" y="650"/>
                    </a:lnTo>
                    <a:lnTo>
                      <a:pt x="960" y="695"/>
                    </a:lnTo>
                    <a:lnTo>
                      <a:pt x="926" y="742"/>
                    </a:lnTo>
                    <a:lnTo>
                      <a:pt x="926" y="788"/>
                    </a:lnTo>
                    <a:lnTo>
                      <a:pt x="926" y="855"/>
                    </a:lnTo>
                    <a:lnTo>
                      <a:pt x="904" y="875"/>
                    </a:lnTo>
                    <a:lnTo>
                      <a:pt x="897" y="909"/>
                    </a:lnTo>
                    <a:lnTo>
                      <a:pt x="847" y="922"/>
                    </a:lnTo>
                    <a:lnTo>
                      <a:pt x="838" y="975"/>
                    </a:lnTo>
                    <a:lnTo>
                      <a:pt x="796" y="1018"/>
                    </a:lnTo>
                    <a:lnTo>
                      <a:pt x="763" y="1000"/>
                    </a:lnTo>
                    <a:lnTo>
                      <a:pt x="726" y="983"/>
                    </a:lnTo>
                    <a:lnTo>
                      <a:pt x="675" y="1054"/>
                    </a:lnTo>
                    <a:lnTo>
                      <a:pt x="601" y="1121"/>
                    </a:lnTo>
                    <a:lnTo>
                      <a:pt x="571" y="1101"/>
                    </a:lnTo>
                    <a:lnTo>
                      <a:pt x="518" y="1088"/>
                    </a:lnTo>
                    <a:lnTo>
                      <a:pt x="434" y="1104"/>
                    </a:lnTo>
                    <a:lnTo>
                      <a:pt x="388" y="1115"/>
                    </a:lnTo>
                    <a:lnTo>
                      <a:pt x="410" y="1080"/>
                    </a:lnTo>
                    <a:lnTo>
                      <a:pt x="398" y="1065"/>
                    </a:lnTo>
                    <a:lnTo>
                      <a:pt x="376" y="1068"/>
                    </a:lnTo>
                    <a:lnTo>
                      <a:pt x="368" y="1089"/>
                    </a:lnTo>
                    <a:lnTo>
                      <a:pt x="368" y="1106"/>
                    </a:lnTo>
                    <a:lnTo>
                      <a:pt x="356" y="1119"/>
                    </a:lnTo>
                    <a:lnTo>
                      <a:pt x="309" y="1114"/>
                    </a:lnTo>
                    <a:lnTo>
                      <a:pt x="289" y="1089"/>
                    </a:lnTo>
                    <a:lnTo>
                      <a:pt x="297" y="1065"/>
                    </a:lnTo>
                    <a:lnTo>
                      <a:pt x="315" y="1048"/>
                    </a:lnTo>
                    <a:lnTo>
                      <a:pt x="331" y="1043"/>
                    </a:lnTo>
                    <a:lnTo>
                      <a:pt x="339" y="1023"/>
                    </a:lnTo>
                    <a:lnTo>
                      <a:pt x="331" y="1014"/>
                    </a:lnTo>
                    <a:lnTo>
                      <a:pt x="309" y="989"/>
                    </a:lnTo>
                    <a:lnTo>
                      <a:pt x="301" y="981"/>
                    </a:lnTo>
                    <a:lnTo>
                      <a:pt x="284" y="998"/>
                    </a:lnTo>
                    <a:lnTo>
                      <a:pt x="284" y="1014"/>
                    </a:lnTo>
                    <a:lnTo>
                      <a:pt x="267" y="1026"/>
                    </a:lnTo>
                    <a:lnTo>
                      <a:pt x="250" y="1035"/>
                    </a:lnTo>
                    <a:lnTo>
                      <a:pt x="230" y="1035"/>
                    </a:lnTo>
                    <a:lnTo>
                      <a:pt x="210" y="1014"/>
                    </a:lnTo>
                    <a:lnTo>
                      <a:pt x="213" y="993"/>
                    </a:lnTo>
                    <a:lnTo>
                      <a:pt x="235" y="972"/>
                    </a:lnTo>
                    <a:lnTo>
                      <a:pt x="243" y="939"/>
                    </a:lnTo>
                    <a:lnTo>
                      <a:pt x="276" y="926"/>
                    </a:lnTo>
                    <a:lnTo>
                      <a:pt x="306" y="917"/>
                    </a:lnTo>
                    <a:lnTo>
                      <a:pt x="292" y="904"/>
                    </a:lnTo>
                    <a:lnTo>
                      <a:pt x="264" y="912"/>
                    </a:lnTo>
                    <a:lnTo>
                      <a:pt x="243" y="912"/>
                    </a:lnTo>
                    <a:lnTo>
                      <a:pt x="230" y="900"/>
                    </a:lnTo>
                    <a:lnTo>
                      <a:pt x="201" y="922"/>
                    </a:lnTo>
                    <a:lnTo>
                      <a:pt x="196" y="939"/>
                    </a:lnTo>
                    <a:lnTo>
                      <a:pt x="168" y="956"/>
                    </a:lnTo>
                    <a:lnTo>
                      <a:pt x="154" y="934"/>
                    </a:lnTo>
                    <a:lnTo>
                      <a:pt x="146" y="922"/>
                    </a:lnTo>
                    <a:lnTo>
                      <a:pt x="163" y="893"/>
                    </a:lnTo>
                    <a:lnTo>
                      <a:pt x="171" y="863"/>
                    </a:lnTo>
                    <a:lnTo>
                      <a:pt x="163" y="842"/>
                    </a:lnTo>
                    <a:lnTo>
                      <a:pt x="184" y="825"/>
                    </a:lnTo>
                    <a:lnTo>
                      <a:pt x="222" y="842"/>
                    </a:lnTo>
                    <a:lnTo>
                      <a:pt x="255" y="830"/>
                    </a:lnTo>
                    <a:lnTo>
                      <a:pt x="292" y="833"/>
                    </a:lnTo>
                    <a:lnTo>
                      <a:pt x="292" y="808"/>
                    </a:lnTo>
                    <a:lnTo>
                      <a:pt x="255" y="800"/>
                    </a:lnTo>
                    <a:lnTo>
                      <a:pt x="210" y="791"/>
                    </a:lnTo>
                    <a:lnTo>
                      <a:pt x="176" y="741"/>
                    </a:lnTo>
                    <a:lnTo>
                      <a:pt x="153" y="710"/>
                    </a:lnTo>
                    <a:lnTo>
                      <a:pt x="184" y="695"/>
                    </a:lnTo>
                    <a:lnTo>
                      <a:pt x="208" y="663"/>
                    </a:lnTo>
                    <a:lnTo>
                      <a:pt x="208" y="638"/>
                    </a:lnTo>
                    <a:lnTo>
                      <a:pt x="196" y="600"/>
                    </a:lnTo>
                    <a:lnTo>
                      <a:pt x="159" y="588"/>
                    </a:lnTo>
                    <a:lnTo>
                      <a:pt x="124" y="591"/>
                    </a:lnTo>
                    <a:lnTo>
                      <a:pt x="112" y="561"/>
                    </a:lnTo>
                    <a:lnTo>
                      <a:pt x="84" y="532"/>
                    </a:lnTo>
                    <a:lnTo>
                      <a:pt x="87" y="410"/>
                    </a:lnTo>
                    <a:lnTo>
                      <a:pt x="117" y="401"/>
                    </a:lnTo>
                    <a:lnTo>
                      <a:pt x="154" y="410"/>
                    </a:lnTo>
                    <a:lnTo>
                      <a:pt x="163" y="443"/>
                    </a:lnTo>
                    <a:lnTo>
                      <a:pt x="163" y="472"/>
                    </a:lnTo>
                    <a:lnTo>
                      <a:pt x="184" y="497"/>
                    </a:lnTo>
                    <a:lnTo>
                      <a:pt x="222" y="510"/>
                    </a:lnTo>
                    <a:lnTo>
                      <a:pt x="222" y="494"/>
                    </a:lnTo>
                    <a:lnTo>
                      <a:pt x="193" y="472"/>
                    </a:lnTo>
                    <a:lnTo>
                      <a:pt x="180" y="452"/>
                    </a:lnTo>
                    <a:lnTo>
                      <a:pt x="180" y="401"/>
                    </a:lnTo>
                    <a:lnTo>
                      <a:pt x="168" y="384"/>
                    </a:lnTo>
                    <a:lnTo>
                      <a:pt x="176" y="342"/>
                    </a:lnTo>
                    <a:lnTo>
                      <a:pt x="159" y="338"/>
                    </a:lnTo>
                    <a:lnTo>
                      <a:pt x="151" y="368"/>
                    </a:lnTo>
                    <a:lnTo>
                      <a:pt x="129" y="388"/>
                    </a:lnTo>
                    <a:lnTo>
                      <a:pt x="104" y="388"/>
                    </a:lnTo>
                    <a:lnTo>
                      <a:pt x="84" y="380"/>
                    </a:lnTo>
                    <a:lnTo>
                      <a:pt x="45" y="354"/>
                    </a:lnTo>
                    <a:lnTo>
                      <a:pt x="3" y="334"/>
                    </a:lnTo>
                    <a:lnTo>
                      <a:pt x="470" y="638"/>
                    </a:lnTo>
                    <a:lnTo>
                      <a:pt x="471" y="638"/>
                    </a:lnTo>
                    <a:lnTo>
                      <a:pt x="472" y="636"/>
                    </a:lnTo>
                    <a:lnTo>
                      <a:pt x="474" y="636"/>
                    </a:lnTo>
                    <a:lnTo>
                      <a:pt x="475" y="636"/>
                    </a:lnTo>
                    <a:lnTo>
                      <a:pt x="475" y="638"/>
                    </a:lnTo>
                    <a:lnTo>
                      <a:pt x="475" y="636"/>
                    </a:lnTo>
                    <a:lnTo>
                      <a:pt x="476" y="638"/>
                    </a:lnTo>
                    <a:lnTo>
                      <a:pt x="477" y="638"/>
                    </a:lnTo>
                    <a:lnTo>
                      <a:pt x="478" y="639"/>
                    </a:lnTo>
                    <a:lnTo>
                      <a:pt x="481" y="639"/>
                    </a:lnTo>
                    <a:lnTo>
                      <a:pt x="481" y="640"/>
                    </a:lnTo>
                    <a:lnTo>
                      <a:pt x="482" y="640"/>
                    </a:lnTo>
                    <a:lnTo>
                      <a:pt x="482" y="639"/>
                    </a:lnTo>
                    <a:lnTo>
                      <a:pt x="483" y="638"/>
                    </a:lnTo>
                    <a:lnTo>
                      <a:pt x="483" y="636"/>
                    </a:lnTo>
                    <a:lnTo>
                      <a:pt x="484" y="635"/>
                    </a:lnTo>
                    <a:lnTo>
                      <a:pt x="486" y="634"/>
                    </a:lnTo>
                    <a:lnTo>
                      <a:pt x="486" y="633"/>
                    </a:lnTo>
                    <a:lnTo>
                      <a:pt x="487" y="633"/>
                    </a:lnTo>
                    <a:lnTo>
                      <a:pt x="488" y="633"/>
                    </a:lnTo>
                    <a:lnTo>
                      <a:pt x="489" y="633"/>
                    </a:lnTo>
                    <a:lnTo>
                      <a:pt x="490" y="633"/>
                    </a:lnTo>
                    <a:lnTo>
                      <a:pt x="492" y="633"/>
                    </a:lnTo>
                    <a:lnTo>
                      <a:pt x="492" y="632"/>
                    </a:lnTo>
                    <a:lnTo>
                      <a:pt x="493" y="632"/>
                    </a:lnTo>
                    <a:lnTo>
                      <a:pt x="493" y="630"/>
                    </a:lnTo>
                    <a:lnTo>
                      <a:pt x="492" y="630"/>
                    </a:lnTo>
                    <a:lnTo>
                      <a:pt x="490" y="630"/>
                    </a:lnTo>
                    <a:lnTo>
                      <a:pt x="490" y="629"/>
                    </a:lnTo>
                    <a:lnTo>
                      <a:pt x="490" y="628"/>
                    </a:lnTo>
                    <a:lnTo>
                      <a:pt x="490" y="627"/>
                    </a:lnTo>
                    <a:lnTo>
                      <a:pt x="492" y="627"/>
                    </a:lnTo>
                    <a:lnTo>
                      <a:pt x="493" y="627"/>
                    </a:lnTo>
                    <a:lnTo>
                      <a:pt x="494" y="628"/>
                    </a:lnTo>
                    <a:lnTo>
                      <a:pt x="495" y="628"/>
                    </a:lnTo>
                    <a:lnTo>
                      <a:pt x="496" y="627"/>
                    </a:lnTo>
                    <a:lnTo>
                      <a:pt x="498" y="627"/>
                    </a:lnTo>
                    <a:lnTo>
                      <a:pt x="499" y="626"/>
                    </a:lnTo>
                    <a:lnTo>
                      <a:pt x="500" y="623"/>
                    </a:lnTo>
                    <a:lnTo>
                      <a:pt x="502" y="623"/>
                    </a:lnTo>
                    <a:lnTo>
                      <a:pt x="502" y="622"/>
                    </a:lnTo>
                    <a:lnTo>
                      <a:pt x="502" y="621"/>
                    </a:lnTo>
                    <a:lnTo>
                      <a:pt x="502" y="620"/>
                    </a:lnTo>
                    <a:lnTo>
                      <a:pt x="504" y="618"/>
                    </a:lnTo>
                    <a:lnTo>
                      <a:pt x="505" y="617"/>
                    </a:lnTo>
                    <a:lnTo>
                      <a:pt x="506" y="615"/>
                    </a:lnTo>
                    <a:lnTo>
                      <a:pt x="507" y="614"/>
                    </a:lnTo>
                    <a:lnTo>
                      <a:pt x="507" y="612"/>
                    </a:lnTo>
                    <a:lnTo>
                      <a:pt x="508" y="611"/>
                    </a:lnTo>
                    <a:lnTo>
                      <a:pt x="508" y="610"/>
                    </a:lnTo>
                    <a:lnTo>
                      <a:pt x="508" y="608"/>
                    </a:lnTo>
                    <a:lnTo>
                      <a:pt x="507" y="606"/>
                    </a:lnTo>
                    <a:lnTo>
                      <a:pt x="506" y="606"/>
                    </a:lnTo>
                    <a:lnTo>
                      <a:pt x="505" y="606"/>
                    </a:lnTo>
                    <a:lnTo>
                      <a:pt x="504" y="606"/>
                    </a:lnTo>
                    <a:lnTo>
                      <a:pt x="502" y="605"/>
                    </a:lnTo>
                    <a:lnTo>
                      <a:pt x="501" y="605"/>
                    </a:lnTo>
                    <a:lnTo>
                      <a:pt x="501" y="606"/>
                    </a:lnTo>
                    <a:lnTo>
                      <a:pt x="500" y="606"/>
                    </a:lnTo>
                    <a:lnTo>
                      <a:pt x="500" y="605"/>
                    </a:lnTo>
                    <a:lnTo>
                      <a:pt x="499" y="605"/>
                    </a:lnTo>
                    <a:lnTo>
                      <a:pt x="496" y="603"/>
                    </a:lnTo>
                    <a:lnTo>
                      <a:pt x="496" y="602"/>
                    </a:lnTo>
                    <a:lnTo>
                      <a:pt x="496" y="600"/>
                    </a:lnTo>
                    <a:lnTo>
                      <a:pt x="498" y="599"/>
                    </a:lnTo>
                    <a:lnTo>
                      <a:pt x="498" y="598"/>
                    </a:lnTo>
                    <a:lnTo>
                      <a:pt x="499" y="597"/>
                    </a:lnTo>
                    <a:lnTo>
                      <a:pt x="499" y="596"/>
                    </a:lnTo>
                    <a:lnTo>
                      <a:pt x="500" y="594"/>
                    </a:lnTo>
                    <a:lnTo>
                      <a:pt x="500" y="593"/>
                    </a:lnTo>
                    <a:lnTo>
                      <a:pt x="500" y="592"/>
                    </a:lnTo>
                    <a:lnTo>
                      <a:pt x="500" y="591"/>
                    </a:lnTo>
                    <a:lnTo>
                      <a:pt x="501" y="591"/>
                    </a:lnTo>
                    <a:lnTo>
                      <a:pt x="502" y="590"/>
                    </a:lnTo>
                    <a:lnTo>
                      <a:pt x="502" y="588"/>
                    </a:lnTo>
                    <a:lnTo>
                      <a:pt x="504" y="588"/>
                    </a:lnTo>
                    <a:lnTo>
                      <a:pt x="504" y="587"/>
                    </a:lnTo>
                    <a:lnTo>
                      <a:pt x="504" y="586"/>
                    </a:lnTo>
                    <a:lnTo>
                      <a:pt x="504" y="585"/>
                    </a:lnTo>
                    <a:lnTo>
                      <a:pt x="504" y="584"/>
                    </a:lnTo>
                    <a:lnTo>
                      <a:pt x="504" y="582"/>
                    </a:lnTo>
                    <a:lnTo>
                      <a:pt x="505" y="582"/>
                    </a:lnTo>
                    <a:lnTo>
                      <a:pt x="505" y="581"/>
                    </a:lnTo>
                    <a:lnTo>
                      <a:pt x="506" y="581"/>
                    </a:lnTo>
                    <a:lnTo>
                      <a:pt x="506" y="580"/>
                    </a:lnTo>
                    <a:lnTo>
                      <a:pt x="507" y="580"/>
                    </a:lnTo>
                    <a:lnTo>
                      <a:pt x="507" y="579"/>
                    </a:lnTo>
                    <a:lnTo>
                      <a:pt x="507" y="578"/>
                    </a:lnTo>
                    <a:lnTo>
                      <a:pt x="508" y="578"/>
                    </a:lnTo>
                    <a:lnTo>
                      <a:pt x="508" y="576"/>
                    </a:lnTo>
                    <a:lnTo>
                      <a:pt x="510" y="576"/>
                    </a:lnTo>
                    <a:lnTo>
                      <a:pt x="510" y="575"/>
                    </a:lnTo>
                    <a:lnTo>
                      <a:pt x="511" y="575"/>
                    </a:lnTo>
                    <a:lnTo>
                      <a:pt x="513" y="575"/>
                    </a:lnTo>
                    <a:lnTo>
                      <a:pt x="514" y="574"/>
                    </a:lnTo>
                    <a:lnTo>
                      <a:pt x="516" y="574"/>
                    </a:lnTo>
                    <a:lnTo>
                      <a:pt x="517" y="574"/>
                    </a:lnTo>
                    <a:lnTo>
                      <a:pt x="518" y="574"/>
                    </a:lnTo>
                    <a:lnTo>
                      <a:pt x="519" y="574"/>
                    </a:lnTo>
                    <a:lnTo>
                      <a:pt x="519" y="573"/>
                    </a:lnTo>
                    <a:lnTo>
                      <a:pt x="520" y="573"/>
                    </a:lnTo>
                    <a:lnTo>
                      <a:pt x="522" y="573"/>
                    </a:lnTo>
                    <a:lnTo>
                      <a:pt x="522" y="574"/>
                    </a:lnTo>
                    <a:lnTo>
                      <a:pt x="523" y="574"/>
                    </a:lnTo>
                    <a:lnTo>
                      <a:pt x="523" y="573"/>
                    </a:lnTo>
                    <a:lnTo>
                      <a:pt x="522" y="573"/>
                    </a:lnTo>
                    <a:lnTo>
                      <a:pt x="522" y="572"/>
                    </a:lnTo>
                    <a:lnTo>
                      <a:pt x="522" y="570"/>
                    </a:lnTo>
                    <a:lnTo>
                      <a:pt x="520" y="567"/>
                    </a:lnTo>
                    <a:lnTo>
                      <a:pt x="520" y="562"/>
                    </a:lnTo>
                    <a:lnTo>
                      <a:pt x="519" y="556"/>
                    </a:lnTo>
                    <a:lnTo>
                      <a:pt x="518" y="554"/>
                    </a:lnTo>
                    <a:lnTo>
                      <a:pt x="516" y="549"/>
                    </a:lnTo>
                    <a:lnTo>
                      <a:pt x="513" y="549"/>
                    </a:lnTo>
                    <a:lnTo>
                      <a:pt x="511" y="550"/>
                    </a:lnTo>
                    <a:lnTo>
                      <a:pt x="510" y="551"/>
                    </a:lnTo>
                    <a:lnTo>
                      <a:pt x="508" y="551"/>
                    </a:lnTo>
                    <a:lnTo>
                      <a:pt x="508" y="552"/>
                    </a:lnTo>
                    <a:lnTo>
                      <a:pt x="507" y="554"/>
                    </a:lnTo>
                    <a:lnTo>
                      <a:pt x="506" y="554"/>
                    </a:lnTo>
                    <a:lnTo>
                      <a:pt x="505" y="555"/>
                    </a:lnTo>
                    <a:lnTo>
                      <a:pt x="504" y="556"/>
                    </a:lnTo>
                    <a:lnTo>
                      <a:pt x="502" y="556"/>
                    </a:lnTo>
                    <a:lnTo>
                      <a:pt x="500" y="556"/>
                    </a:lnTo>
                    <a:lnTo>
                      <a:pt x="496" y="557"/>
                    </a:lnTo>
                    <a:lnTo>
                      <a:pt x="495" y="557"/>
                    </a:lnTo>
                    <a:lnTo>
                      <a:pt x="494" y="558"/>
                    </a:lnTo>
                    <a:lnTo>
                      <a:pt x="493" y="558"/>
                    </a:lnTo>
                    <a:lnTo>
                      <a:pt x="492" y="558"/>
                    </a:lnTo>
                    <a:lnTo>
                      <a:pt x="490" y="558"/>
                    </a:lnTo>
                    <a:lnTo>
                      <a:pt x="490" y="560"/>
                    </a:lnTo>
                    <a:lnTo>
                      <a:pt x="489" y="560"/>
                    </a:lnTo>
                    <a:lnTo>
                      <a:pt x="488" y="560"/>
                    </a:lnTo>
                    <a:lnTo>
                      <a:pt x="487" y="561"/>
                    </a:lnTo>
                    <a:lnTo>
                      <a:pt x="486" y="561"/>
                    </a:lnTo>
                    <a:lnTo>
                      <a:pt x="486" y="562"/>
                    </a:lnTo>
                    <a:lnTo>
                      <a:pt x="484" y="562"/>
                    </a:lnTo>
                    <a:lnTo>
                      <a:pt x="483" y="563"/>
                    </a:lnTo>
                    <a:lnTo>
                      <a:pt x="482" y="563"/>
                    </a:lnTo>
                    <a:lnTo>
                      <a:pt x="482" y="564"/>
                    </a:lnTo>
                    <a:lnTo>
                      <a:pt x="481" y="566"/>
                    </a:lnTo>
                    <a:lnTo>
                      <a:pt x="480" y="566"/>
                    </a:lnTo>
                    <a:lnTo>
                      <a:pt x="480" y="564"/>
                    </a:lnTo>
                    <a:lnTo>
                      <a:pt x="478" y="564"/>
                    </a:lnTo>
                    <a:lnTo>
                      <a:pt x="477" y="564"/>
                    </a:lnTo>
                    <a:lnTo>
                      <a:pt x="476" y="564"/>
                    </a:lnTo>
                    <a:lnTo>
                      <a:pt x="475" y="566"/>
                    </a:lnTo>
                    <a:lnTo>
                      <a:pt x="474" y="566"/>
                    </a:lnTo>
                    <a:lnTo>
                      <a:pt x="472" y="566"/>
                    </a:lnTo>
                    <a:lnTo>
                      <a:pt x="472" y="564"/>
                    </a:lnTo>
                    <a:lnTo>
                      <a:pt x="472" y="563"/>
                    </a:lnTo>
                    <a:lnTo>
                      <a:pt x="472" y="562"/>
                    </a:lnTo>
                    <a:lnTo>
                      <a:pt x="472" y="561"/>
                    </a:lnTo>
                    <a:lnTo>
                      <a:pt x="472" y="560"/>
                    </a:lnTo>
                    <a:lnTo>
                      <a:pt x="474" y="558"/>
                    </a:lnTo>
                    <a:lnTo>
                      <a:pt x="474" y="557"/>
                    </a:lnTo>
                    <a:lnTo>
                      <a:pt x="474" y="556"/>
                    </a:lnTo>
                    <a:lnTo>
                      <a:pt x="474" y="555"/>
                    </a:lnTo>
                    <a:lnTo>
                      <a:pt x="472" y="555"/>
                    </a:lnTo>
                    <a:lnTo>
                      <a:pt x="472" y="554"/>
                    </a:lnTo>
                    <a:lnTo>
                      <a:pt x="472" y="552"/>
                    </a:lnTo>
                    <a:lnTo>
                      <a:pt x="472" y="551"/>
                    </a:lnTo>
                    <a:lnTo>
                      <a:pt x="474" y="551"/>
                    </a:lnTo>
                    <a:lnTo>
                      <a:pt x="474" y="550"/>
                    </a:lnTo>
                    <a:lnTo>
                      <a:pt x="474" y="549"/>
                    </a:lnTo>
                    <a:lnTo>
                      <a:pt x="475" y="548"/>
                    </a:lnTo>
                    <a:lnTo>
                      <a:pt x="476" y="546"/>
                    </a:lnTo>
                    <a:lnTo>
                      <a:pt x="477" y="545"/>
                    </a:lnTo>
                    <a:lnTo>
                      <a:pt x="477" y="544"/>
                    </a:lnTo>
                    <a:lnTo>
                      <a:pt x="477" y="545"/>
                    </a:lnTo>
                    <a:lnTo>
                      <a:pt x="477" y="544"/>
                    </a:lnTo>
                    <a:lnTo>
                      <a:pt x="478" y="544"/>
                    </a:lnTo>
                    <a:lnTo>
                      <a:pt x="478" y="542"/>
                    </a:lnTo>
                    <a:lnTo>
                      <a:pt x="480" y="542"/>
                    </a:lnTo>
                    <a:lnTo>
                      <a:pt x="480" y="540"/>
                    </a:lnTo>
                    <a:lnTo>
                      <a:pt x="480" y="539"/>
                    </a:lnTo>
                    <a:lnTo>
                      <a:pt x="481" y="539"/>
                    </a:lnTo>
                    <a:lnTo>
                      <a:pt x="481" y="538"/>
                    </a:lnTo>
                    <a:lnTo>
                      <a:pt x="481" y="537"/>
                    </a:lnTo>
                    <a:lnTo>
                      <a:pt x="481" y="536"/>
                    </a:lnTo>
                    <a:lnTo>
                      <a:pt x="481" y="534"/>
                    </a:lnTo>
                    <a:lnTo>
                      <a:pt x="481" y="533"/>
                    </a:lnTo>
                    <a:lnTo>
                      <a:pt x="481" y="532"/>
                    </a:lnTo>
                    <a:lnTo>
                      <a:pt x="482" y="531"/>
                    </a:lnTo>
                    <a:lnTo>
                      <a:pt x="482" y="530"/>
                    </a:lnTo>
                    <a:lnTo>
                      <a:pt x="482" y="528"/>
                    </a:lnTo>
                    <a:lnTo>
                      <a:pt x="482" y="527"/>
                    </a:lnTo>
                    <a:lnTo>
                      <a:pt x="483" y="526"/>
                    </a:lnTo>
                    <a:lnTo>
                      <a:pt x="483" y="525"/>
                    </a:lnTo>
                    <a:lnTo>
                      <a:pt x="483" y="524"/>
                    </a:lnTo>
                    <a:lnTo>
                      <a:pt x="483" y="522"/>
                    </a:lnTo>
                    <a:lnTo>
                      <a:pt x="483" y="521"/>
                    </a:lnTo>
                    <a:lnTo>
                      <a:pt x="483" y="520"/>
                    </a:lnTo>
                    <a:lnTo>
                      <a:pt x="482" y="519"/>
                    </a:lnTo>
                    <a:lnTo>
                      <a:pt x="482" y="518"/>
                    </a:lnTo>
                    <a:lnTo>
                      <a:pt x="480" y="518"/>
                    </a:lnTo>
                    <a:lnTo>
                      <a:pt x="478" y="518"/>
                    </a:lnTo>
                    <a:lnTo>
                      <a:pt x="477" y="516"/>
                    </a:lnTo>
                    <a:lnTo>
                      <a:pt x="476" y="518"/>
                    </a:lnTo>
                    <a:lnTo>
                      <a:pt x="475" y="518"/>
                    </a:lnTo>
                    <a:lnTo>
                      <a:pt x="475" y="516"/>
                    </a:lnTo>
                    <a:lnTo>
                      <a:pt x="475" y="515"/>
                    </a:lnTo>
                    <a:lnTo>
                      <a:pt x="475" y="514"/>
                    </a:lnTo>
                    <a:lnTo>
                      <a:pt x="476" y="513"/>
                    </a:lnTo>
                    <a:lnTo>
                      <a:pt x="476" y="512"/>
                    </a:lnTo>
                    <a:lnTo>
                      <a:pt x="478" y="510"/>
                    </a:lnTo>
                    <a:lnTo>
                      <a:pt x="480" y="509"/>
                    </a:lnTo>
                    <a:lnTo>
                      <a:pt x="480" y="507"/>
                    </a:lnTo>
                    <a:lnTo>
                      <a:pt x="480" y="506"/>
                    </a:lnTo>
                    <a:lnTo>
                      <a:pt x="480" y="504"/>
                    </a:lnTo>
                    <a:lnTo>
                      <a:pt x="478" y="502"/>
                    </a:lnTo>
                    <a:lnTo>
                      <a:pt x="478" y="501"/>
                    </a:lnTo>
                    <a:lnTo>
                      <a:pt x="477" y="501"/>
                    </a:lnTo>
                    <a:lnTo>
                      <a:pt x="476" y="498"/>
                    </a:lnTo>
                    <a:lnTo>
                      <a:pt x="474" y="500"/>
                    </a:lnTo>
                    <a:lnTo>
                      <a:pt x="472" y="500"/>
                    </a:lnTo>
                    <a:lnTo>
                      <a:pt x="471" y="500"/>
                    </a:lnTo>
                    <a:lnTo>
                      <a:pt x="470" y="500"/>
                    </a:lnTo>
                    <a:lnTo>
                      <a:pt x="469" y="498"/>
                    </a:lnTo>
                    <a:lnTo>
                      <a:pt x="469" y="497"/>
                    </a:lnTo>
                    <a:lnTo>
                      <a:pt x="469" y="496"/>
                    </a:lnTo>
                    <a:lnTo>
                      <a:pt x="468" y="496"/>
                    </a:lnTo>
                    <a:lnTo>
                      <a:pt x="468" y="495"/>
                    </a:lnTo>
                    <a:lnTo>
                      <a:pt x="468" y="494"/>
                    </a:lnTo>
                    <a:lnTo>
                      <a:pt x="468" y="492"/>
                    </a:lnTo>
                    <a:lnTo>
                      <a:pt x="468" y="491"/>
                    </a:lnTo>
                    <a:lnTo>
                      <a:pt x="468" y="490"/>
                    </a:lnTo>
                    <a:lnTo>
                      <a:pt x="468" y="489"/>
                    </a:lnTo>
                    <a:lnTo>
                      <a:pt x="466" y="489"/>
                    </a:lnTo>
                    <a:lnTo>
                      <a:pt x="468" y="488"/>
                    </a:lnTo>
                    <a:lnTo>
                      <a:pt x="468" y="486"/>
                    </a:lnTo>
                    <a:lnTo>
                      <a:pt x="469" y="486"/>
                    </a:lnTo>
                    <a:lnTo>
                      <a:pt x="469" y="485"/>
                    </a:lnTo>
                    <a:lnTo>
                      <a:pt x="469" y="484"/>
                    </a:lnTo>
                    <a:lnTo>
                      <a:pt x="468" y="484"/>
                    </a:lnTo>
                    <a:lnTo>
                      <a:pt x="469" y="484"/>
                    </a:lnTo>
                    <a:lnTo>
                      <a:pt x="469" y="483"/>
                    </a:lnTo>
                    <a:lnTo>
                      <a:pt x="469" y="482"/>
                    </a:lnTo>
                    <a:lnTo>
                      <a:pt x="469" y="480"/>
                    </a:lnTo>
                    <a:lnTo>
                      <a:pt x="469" y="479"/>
                    </a:lnTo>
                    <a:lnTo>
                      <a:pt x="469" y="480"/>
                    </a:lnTo>
                    <a:lnTo>
                      <a:pt x="469" y="479"/>
                    </a:lnTo>
                    <a:lnTo>
                      <a:pt x="468" y="478"/>
                    </a:lnTo>
                    <a:lnTo>
                      <a:pt x="466" y="476"/>
                    </a:lnTo>
                    <a:lnTo>
                      <a:pt x="466" y="474"/>
                    </a:lnTo>
                    <a:lnTo>
                      <a:pt x="466" y="473"/>
                    </a:lnTo>
                    <a:lnTo>
                      <a:pt x="468" y="472"/>
                    </a:lnTo>
                    <a:lnTo>
                      <a:pt x="469" y="471"/>
                    </a:lnTo>
                    <a:lnTo>
                      <a:pt x="469" y="470"/>
                    </a:lnTo>
                    <a:lnTo>
                      <a:pt x="470" y="468"/>
                    </a:lnTo>
                    <a:lnTo>
                      <a:pt x="469" y="466"/>
                    </a:lnTo>
                    <a:lnTo>
                      <a:pt x="468" y="466"/>
                    </a:lnTo>
                    <a:lnTo>
                      <a:pt x="466" y="465"/>
                    </a:lnTo>
                    <a:lnTo>
                      <a:pt x="464" y="465"/>
                    </a:lnTo>
                    <a:lnTo>
                      <a:pt x="464" y="464"/>
                    </a:lnTo>
                    <a:lnTo>
                      <a:pt x="463" y="462"/>
                    </a:lnTo>
                    <a:lnTo>
                      <a:pt x="463" y="461"/>
                    </a:lnTo>
                    <a:lnTo>
                      <a:pt x="462" y="460"/>
                    </a:lnTo>
                    <a:lnTo>
                      <a:pt x="460" y="460"/>
                    </a:lnTo>
                    <a:lnTo>
                      <a:pt x="458" y="461"/>
                    </a:lnTo>
                    <a:lnTo>
                      <a:pt x="457" y="461"/>
                    </a:lnTo>
                    <a:lnTo>
                      <a:pt x="457" y="462"/>
                    </a:lnTo>
                    <a:lnTo>
                      <a:pt x="456" y="462"/>
                    </a:lnTo>
                    <a:lnTo>
                      <a:pt x="454" y="462"/>
                    </a:lnTo>
                    <a:lnTo>
                      <a:pt x="453" y="461"/>
                    </a:lnTo>
                    <a:lnTo>
                      <a:pt x="452" y="462"/>
                    </a:lnTo>
                    <a:lnTo>
                      <a:pt x="451" y="461"/>
                    </a:lnTo>
                    <a:lnTo>
                      <a:pt x="450" y="461"/>
                    </a:lnTo>
                    <a:lnTo>
                      <a:pt x="450" y="462"/>
                    </a:lnTo>
                    <a:lnTo>
                      <a:pt x="448" y="464"/>
                    </a:lnTo>
                    <a:lnTo>
                      <a:pt x="448" y="465"/>
                    </a:lnTo>
                    <a:lnTo>
                      <a:pt x="447" y="466"/>
                    </a:lnTo>
                    <a:lnTo>
                      <a:pt x="446" y="466"/>
                    </a:lnTo>
                    <a:lnTo>
                      <a:pt x="444" y="467"/>
                    </a:lnTo>
                    <a:lnTo>
                      <a:pt x="444" y="468"/>
                    </a:lnTo>
                    <a:lnTo>
                      <a:pt x="442" y="467"/>
                    </a:lnTo>
                    <a:lnTo>
                      <a:pt x="442" y="465"/>
                    </a:lnTo>
                    <a:lnTo>
                      <a:pt x="442" y="462"/>
                    </a:lnTo>
                    <a:lnTo>
                      <a:pt x="441" y="464"/>
                    </a:lnTo>
                    <a:lnTo>
                      <a:pt x="440" y="464"/>
                    </a:lnTo>
                    <a:lnTo>
                      <a:pt x="439" y="462"/>
                    </a:lnTo>
                    <a:lnTo>
                      <a:pt x="439" y="461"/>
                    </a:lnTo>
                    <a:lnTo>
                      <a:pt x="438" y="461"/>
                    </a:lnTo>
                    <a:lnTo>
                      <a:pt x="436" y="461"/>
                    </a:lnTo>
                    <a:lnTo>
                      <a:pt x="436" y="462"/>
                    </a:lnTo>
                    <a:lnTo>
                      <a:pt x="434" y="464"/>
                    </a:lnTo>
                    <a:lnTo>
                      <a:pt x="433" y="464"/>
                    </a:lnTo>
                    <a:lnTo>
                      <a:pt x="432" y="464"/>
                    </a:lnTo>
                    <a:lnTo>
                      <a:pt x="430" y="462"/>
                    </a:lnTo>
                    <a:lnTo>
                      <a:pt x="430" y="461"/>
                    </a:lnTo>
                    <a:lnTo>
                      <a:pt x="430" y="459"/>
                    </a:lnTo>
                    <a:lnTo>
                      <a:pt x="429" y="458"/>
                    </a:lnTo>
                    <a:lnTo>
                      <a:pt x="428" y="458"/>
                    </a:lnTo>
                    <a:lnTo>
                      <a:pt x="427" y="458"/>
                    </a:lnTo>
                    <a:lnTo>
                      <a:pt x="426" y="458"/>
                    </a:lnTo>
                    <a:lnTo>
                      <a:pt x="424" y="458"/>
                    </a:lnTo>
                    <a:lnTo>
                      <a:pt x="423" y="456"/>
                    </a:lnTo>
                    <a:lnTo>
                      <a:pt x="422" y="456"/>
                    </a:lnTo>
                    <a:lnTo>
                      <a:pt x="421" y="459"/>
                    </a:lnTo>
                    <a:lnTo>
                      <a:pt x="421" y="460"/>
                    </a:lnTo>
                    <a:lnTo>
                      <a:pt x="420" y="461"/>
                    </a:lnTo>
                    <a:lnTo>
                      <a:pt x="418" y="461"/>
                    </a:lnTo>
                    <a:lnTo>
                      <a:pt x="418" y="462"/>
                    </a:lnTo>
                    <a:lnTo>
                      <a:pt x="417" y="462"/>
                    </a:lnTo>
                    <a:lnTo>
                      <a:pt x="417" y="464"/>
                    </a:lnTo>
                    <a:lnTo>
                      <a:pt x="417" y="465"/>
                    </a:lnTo>
                    <a:lnTo>
                      <a:pt x="417" y="466"/>
                    </a:lnTo>
                    <a:lnTo>
                      <a:pt x="417" y="467"/>
                    </a:lnTo>
                    <a:lnTo>
                      <a:pt x="417" y="468"/>
                    </a:lnTo>
                    <a:lnTo>
                      <a:pt x="417" y="470"/>
                    </a:lnTo>
                    <a:lnTo>
                      <a:pt x="416" y="470"/>
                    </a:lnTo>
                    <a:lnTo>
                      <a:pt x="416" y="471"/>
                    </a:lnTo>
                    <a:lnTo>
                      <a:pt x="415" y="471"/>
                    </a:lnTo>
                    <a:lnTo>
                      <a:pt x="414" y="471"/>
                    </a:lnTo>
                    <a:lnTo>
                      <a:pt x="412" y="471"/>
                    </a:lnTo>
                    <a:lnTo>
                      <a:pt x="411" y="471"/>
                    </a:lnTo>
                    <a:lnTo>
                      <a:pt x="410" y="471"/>
                    </a:lnTo>
                    <a:lnTo>
                      <a:pt x="410" y="472"/>
                    </a:lnTo>
                    <a:lnTo>
                      <a:pt x="409" y="472"/>
                    </a:lnTo>
                    <a:lnTo>
                      <a:pt x="408" y="472"/>
                    </a:lnTo>
                    <a:lnTo>
                      <a:pt x="408" y="473"/>
                    </a:lnTo>
                    <a:lnTo>
                      <a:pt x="408" y="474"/>
                    </a:lnTo>
                    <a:lnTo>
                      <a:pt x="408" y="476"/>
                    </a:lnTo>
                    <a:lnTo>
                      <a:pt x="408" y="477"/>
                    </a:lnTo>
                    <a:lnTo>
                      <a:pt x="409" y="478"/>
                    </a:lnTo>
                    <a:lnTo>
                      <a:pt x="409" y="479"/>
                    </a:lnTo>
                    <a:lnTo>
                      <a:pt x="409" y="480"/>
                    </a:lnTo>
                    <a:lnTo>
                      <a:pt x="409" y="482"/>
                    </a:lnTo>
                    <a:lnTo>
                      <a:pt x="409" y="483"/>
                    </a:lnTo>
                    <a:lnTo>
                      <a:pt x="408" y="483"/>
                    </a:lnTo>
                    <a:lnTo>
                      <a:pt x="408" y="484"/>
                    </a:lnTo>
                    <a:lnTo>
                      <a:pt x="408" y="485"/>
                    </a:lnTo>
                    <a:lnTo>
                      <a:pt x="406" y="485"/>
                    </a:lnTo>
                    <a:lnTo>
                      <a:pt x="405" y="485"/>
                    </a:lnTo>
                    <a:lnTo>
                      <a:pt x="405" y="486"/>
                    </a:lnTo>
                    <a:lnTo>
                      <a:pt x="404" y="486"/>
                    </a:lnTo>
                    <a:lnTo>
                      <a:pt x="404" y="488"/>
                    </a:lnTo>
                    <a:lnTo>
                      <a:pt x="403" y="489"/>
                    </a:lnTo>
                    <a:lnTo>
                      <a:pt x="403" y="490"/>
                    </a:lnTo>
                    <a:lnTo>
                      <a:pt x="402" y="490"/>
                    </a:lnTo>
                    <a:lnTo>
                      <a:pt x="402" y="491"/>
                    </a:lnTo>
                    <a:lnTo>
                      <a:pt x="400" y="491"/>
                    </a:lnTo>
                    <a:lnTo>
                      <a:pt x="400" y="492"/>
                    </a:lnTo>
                    <a:lnTo>
                      <a:pt x="400" y="494"/>
                    </a:lnTo>
                    <a:lnTo>
                      <a:pt x="400" y="495"/>
                    </a:lnTo>
                    <a:lnTo>
                      <a:pt x="402" y="495"/>
                    </a:lnTo>
                    <a:lnTo>
                      <a:pt x="402" y="496"/>
                    </a:lnTo>
                    <a:lnTo>
                      <a:pt x="403" y="497"/>
                    </a:lnTo>
                    <a:lnTo>
                      <a:pt x="403" y="498"/>
                    </a:lnTo>
                    <a:lnTo>
                      <a:pt x="403" y="500"/>
                    </a:lnTo>
                    <a:lnTo>
                      <a:pt x="403" y="501"/>
                    </a:lnTo>
                    <a:lnTo>
                      <a:pt x="403" y="502"/>
                    </a:lnTo>
                    <a:lnTo>
                      <a:pt x="403" y="503"/>
                    </a:lnTo>
                    <a:lnTo>
                      <a:pt x="403" y="504"/>
                    </a:lnTo>
                    <a:lnTo>
                      <a:pt x="404" y="504"/>
                    </a:lnTo>
                    <a:lnTo>
                      <a:pt x="404" y="506"/>
                    </a:lnTo>
                    <a:lnTo>
                      <a:pt x="403" y="506"/>
                    </a:lnTo>
                    <a:lnTo>
                      <a:pt x="403" y="507"/>
                    </a:lnTo>
                    <a:lnTo>
                      <a:pt x="402" y="507"/>
                    </a:lnTo>
                    <a:lnTo>
                      <a:pt x="400" y="508"/>
                    </a:lnTo>
                    <a:lnTo>
                      <a:pt x="399" y="508"/>
                    </a:lnTo>
                    <a:lnTo>
                      <a:pt x="398" y="509"/>
                    </a:lnTo>
                    <a:lnTo>
                      <a:pt x="397" y="509"/>
                    </a:lnTo>
                    <a:lnTo>
                      <a:pt x="397" y="510"/>
                    </a:lnTo>
                    <a:lnTo>
                      <a:pt x="396" y="510"/>
                    </a:lnTo>
                    <a:lnTo>
                      <a:pt x="394" y="510"/>
                    </a:lnTo>
                    <a:lnTo>
                      <a:pt x="392" y="510"/>
                    </a:lnTo>
                    <a:lnTo>
                      <a:pt x="390" y="509"/>
                    </a:lnTo>
                    <a:lnTo>
                      <a:pt x="391" y="508"/>
                    </a:lnTo>
                    <a:lnTo>
                      <a:pt x="391" y="507"/>
                    </a:lnTo>
                    <a:lnTo>
                      <a:pt x="391" y="504"/>
                    </a:lnTo>
                    <a:lnTo>
                      <a:pt x="390" y="503"/>
                    </a:lnTo>
                    <a:lnTo>
                      <a:pt x="390" y="502"/>
                    </a:lnTo>
                    <a:lnTo>
                      <a:pt x="388" y="500"/>
                    </a:lnTo>
                    <a:lnTo>
                      <a:pt x="388" y="498"/>
                    </a:lnTo>
                    <a:lnTo>
                      <a:pt x="388" y="497"/>
                    </a:lnTo>
                    <a:lnTo>
                      <a:pt x="388" y="496"/>
                    </a:lnTo>
                    <a:lnTo>
                      <a:pt x="387" y="496"/>
                    </a:lnTo>
                    <a:lnTo>
                      <a:pt x="387" y="495"/>
                    </a:lnTo>
                    <a:lnTo>
                      <a:pt x="387" y="494"/>
                    </a:lnTo>
                    <a:lnTo>
                      <a:pt x="386" y="494"/>
                    </a:lnTo>
                    <a:lnTo>
                      <a:pt x="385" y="492"/>
                    </a:lnTo>
                    <a:lnTo>
                      <a:pt x="384" y="491"/>
                    </a:lnTo>
                    <a:lnTo>
                      <a:pt x="382" y="491"/>
                    </a:lnTo>
                    <a:lnTo>
                      <a:pt x="381" y="490"/>
                    </a:lnTo>
                    <a:lnTo>
                      <a:pt x="380" y="489"/>
                    </a:lnTo>
                    <a:lnTo>
                      <a:pt x="379" y="490"/>
                    </a:lnTo>
                    <a:lnTo>
                      <a:pt x="378" y="490"/>
                    </a:lnTo>
                    <a:lnTo>
                      <a:pt x="376" y="490"/>
                    </a:lnTo>
                    <a:lnTo>
                      <a:pt x="376" y="491"/>
                    </a:lnTo>
                    <a:lnTo>
                      <a:pt x="375" y="492"/>
                    </a:lnTo>
                    <a:lnTo>
                      <a:pt x="375" y="494"/>
                    </a:lnTo>
                    <a:lnTo>
                      <a:pt x="374" y="494"/>
                    </a:lnTo>
                    <a:lnTo>
                      <a:pt x="373" y="495"/>
                    </a:lnTo>
                    <a:lnTo>
                      <a:pt x="372" y="495"/>
                    </a:lnTo>
                    <a:lnTo>
                      <a:pt x="370" y="495"/>
                    </a:lnTo>
                    <a:lnTo>
                      <a:pt x="370" y="496"/>
                    </a:lnTo>
                    <a:lnTo>
                      <a:pt x="369" y="496"/>
                    </a:lnTo>
                    <a:lnTo>
                      <a:pt x="368" y="497"/>
                    </a:lnTo>
                    <a:lnTo>
                      <a:pt x="367" y="498"/>
                    </a:lnTo>
                    <a:lnTo>
                      <a:pt x="363" y="500"/>
                    </a:lnTo>
                    <a:lnTo>
                      <a:pt x="362" y="500"/>
                    </a:lnTo>
                    <a:lnTo>
                      <a:pt x="361" y="500"/>
                    </a:lnTo>
                    <a:lnTo>
                      <a:pt x="361" y="498"/>
                    </a:lnTo>
                    <a:lnTo>
                      <a:pt x="360" y="498"/>
                    </a:lnTo>
                    <a:lnTo>
                      <a:pt x="360" y="497"/>
                    </a:lnTo>
                    <a:lnTo>
                      <a:pt x="357" y="496"/>
                    </a:lnTo>
                    <a:lnTo>
                      <a:pt x="357" y="497"/>
                    </a:lnTo>
                    <a:lnTo>
                      <a:pt x="358" y="498"/>
                    </a:lnTo>
                    <a:lnTo>
                      <a:pt x="358" y="500"/>
                    </a:lnTo>
                    <a:lnTo>
                      <a:pt x="360" y="500"/>
                    </a:lnTo>
                    <a:lnTo>
                      <a:pt x="360" y="501"/>
                    </a:lnTo>
                    <a:lnTo>
                      <a:pt x="360" y="502"/>
                    </a:lnTo>
                    <a:lnTo>
                      <a:pt x="360" y="503"/>
                    </a:lnTo>
                    <a:lnTo>
                      <a:pt x="360" y="504"/>
                    </a:lnTo>
                    <a:lnTo>
                      <a:pt x="357" y="509"/>
                    </a:lnTo>
                    <a:lnTo>
                      <a:pt x="357" y="510"/>
                    </a:lnTo>
                    <a:lnTo>
                      <a:pt x="357" y="509"/>
                    </a:lnTo>
                    <a:lnTo>
                      <a:pt x="357" y="510"/>
                    </a:lnTo>
                    <a:lnTo>
                      <a:pt x="357" y="512"/>
                    </a:lnTo>
                    <a:lnTo>
                      <a:pt x="358" y="513"/>
                    </a:lnTo>
                    <a:lnTo>
                      <a:pt x="357" y="514"/>
                    </a:lnTo>
                    <a:lnTo>
                      <a:pt x="357" y="515"/>
                    </a:lnTo>
                    <a:lnTo>
                      <a:pt x="357" y="516"/>
                    </a:lnTo>
                    <a:lnTo>
                      <a:pt x="356" y="518"/>
                    </a:lnTo>
                    <a:lnTo>
                      <a:pt x="356" y="519"/>
                    </a:lnTo>
                    <a:lnTo>
                      <a:pt x="355" y="519"/>
                    </a:lnTo>
                    <a:lnTo>
                      <a:pt x="355" y="520"/>
                    </a:lnTo>
                    <a:lnTo>
                      <a:pt x="355" y="521"/>
                    </a:lnTo>
                    <a:lnTo>
                      <a:pt x="355" y="522"/>
                    </a:lnTo>
                    <a:lnTo>
                      <a:pt x="354" y="522"/>
                    </a:lnTo>
                    <a:lnTo>
                      <a:pt x="355" y="524"/>
                    </a:lnTo>
                    <a:lnTo>
                      <a:pt x="355" y="525"/>
                    </a:lnTo>
                    <a:lnTo>
                      <a:pt x="355" y="526"/>
                    </a:lnTo>
                    <a:lnTo>
                      <a:pt x="355" y="527"/>
                    </a:lnTo>
                    <a:lnTo>
                      <a:pt x="355" y="528"/>
                    </a:lnTo>
                    <a:lnTo>
                      <a:pt x="355" y="530"/>
                    </a:lnTo>
                    <a:lnTo>
                      <a:pt x="354" y="530"/>
                    </a:lnTo>
                    <a:lnTo>
                      <a:pt x="355" y="530"/>
                    </a:lnTo>
                    <a:lnTo>
                      <a:pt x="354" y="531"/>
                    </a:lnTo>
                    <a:lnTo>
                      <a:pt x="354" y="532"/>
                    </a:lnTo>
                    <a:lnTo>
                      <a:pt x="355" y="533"/>
                    </a:lnTo>
                    <a:lnTo>
                      <a:pt x="355" y="534"/>
                    </a:lnTo>
                    <a:lnTo>
                      <a:pt x="355" y="536"/>
                    </a:lnTo>
                    <a:lnTo>
                      <a:pt x="354" y="536"/>
                    </a:lnTo>
                    <a:lnTo>
                      <a:pt x="354" y="537"/>
                    </a:lnTo>
                    <a:lnTo>
                      <a:pt x="352" y="538"/>
                    </a:lnTo>
                    <a:lnTo>
                      <a:pt x="352" y="539"/>
                    </a:lnTo>
                    <a:lnTo>
                      <a:pt x="352" y="540"/>
                    </a:lnTo>
                    <a:lnTo>
                      <a:pt x="351" y="540"/>
                    </a:lnTo>
                    <a:lnTo>
                      <a:pt x="350" y="540"/>
                    </a:lnTo>
                    <a:lnTo>
                      <a:pt x="349" y="542"/>
                    </a:lnTo>
                    <a:lnTo>
                      <a:pt x="348" y="542"/>
                    </a:lnTo>
                    <a:lnTo>
                      <a:pt x="346" y="540"/>
                    </a:lnTo>
                    <a:lnTo>
                      <a:pt x="345" y="540"/>
                    </a:lnTo>
                    <a:lnTo>
                      <a:pt x="345" y="539"/>
                    </a:lnTo>
                    <a:lnTo>
                      <a:pt x="345" y="538"/>
                    </a:lnTo>
                    <a:lnTo>
                      <a:pt x="344" y="538"/>
                    </a:lnTo>
                    <a:lnTo>
                      <a:pt x="343" y="539"/>
                    </a:lnTo>
                    <a:lnTo>
                      <a:pt x="342" y="540"/>
                    </a:lnTo>
                    <a:lnTo>
                      <a:pt x="342" y="542"/>
                    </a:lnTo>
                    <a:lnTo>
                      <a:pt x="340" y="543"/>
                    </a:lnTo>
                    <a:lnTo>
                      <a:pt x="340" y="544"/>
                    </a:lnTo>
                    <a:lnTo>
                      <a:pt x="340" y="545"/>
                    </a:lnTo>
                    <a:lnTo>
                      <a:pt x="339" y="548"/>
                    </a:lnTo>
                    <a:lnTo>
                      <a:pt x="334" y="550"/>
                    </a:lnTo>
                    <a:lnTo>
                      <a:pt x="332" y="551"/>
                    </a:lnTo>
                    <a:lnTo>
                      <a:pt x="328" y="552"/>
                    </a:lnTo>
                    <a:lnTo>
                      <a:pt x="327" y="552"/>
                    </a:lnTo>
                    <a:lnTo>
                      <a:pt x="326" y="552"/>
                    </a:lnTo>
                    <a:lnTo>
                      <a:pt x="324" y="551"/>
                    </a:lnTo>
                    <a:lnTo>
                      <a:pt x="320" y="550"/>
                    </a:lnTo>
                    <a:lnTo>
                      <a:pt x="316" y="546"/>
                    </a:lnTo>
                    <a:lnTo>
                      <a:pt x="313" y="543"/>
                    </a:lnTo>
                    <a:lnTo>
                      <a:pt x="310" y="539"/>
                    </a:lnTo>
                    <a:lnTo>
                      <a:pt x="307" y="539"/>
                    </a:lnTo>
                    <a:lnTo>
                      <a:pt x="295" y="528"/>
                    </a:lnTo>
                    <a:lnTo>
                      <a:pt x="292" y="531"/>
                    </a:lnTo>
                    <a:lnTo>
                      <a:pt x="292" y="533"/>
                    </a:lnTo>
                    <a:lnTo>
                      <a:pt x="291" y="534"/>
                    </a:lnTo>
                    <a:lnTo>
                      <a:pt x="291" y="537"/>
                    </a:lnTo>
                    <a:lnTo>
                      <a:pt x="292" y="538"/>
                    </a:lnTo>
                    <a:lnTo>
                      <a:pt x="294" y="540"/>
                    </a:lnTo>
                    <a:lnTo>
                      <a:pt x="294" y="542"/>
                    </a:lnTo>
                    <a:lnTo>
                      <a:pt x="292" y="542"/>
                    </a:lnTo>
                    <a:lnTo>
                      <a:pt x="292" y="543"/>
                    </a:lnTo>
                    <a:lnTo>
                      <a:pt x="291" y="544"/>
                    </a:lnTo>
                    <a:lnTo>
                      <a:pt x="289" y="546"/>
                    </a:lnTo>
                    <a:lnTo>
                      <a:pt x="289" y="548"/>
                    </a:lnTo>
                    <a:lnTo>
                      <a:pt x="288" y="546"/>
                    </a:lnTo>
                    <a:lnTo>
                      <a:pt x="288" y="548"/>
                    </a:lnTo>
                    <a:lnTo>
                      <a:pt x="288" y="550"/>
                    </a:lnTo>
                    <a:lnTo>
                      <a:pt x="285" y="551"/>
                    </a:lnTo>
                    <a:lnTo>
                      <a:pt x="283" y="552"/>
                    </a:lnTo>
                    <a:lnTo>
                      <a:pt x="282" y="552"/>
                    </a:lnTo>
                    <a:lnTo>
                      <a:pt x="282" y="554"/>
                    </a:lnTo>
                    <a:lnTo>
                      <a:pt x="282" y="555"/>
                    </a:lnTo>
                    <a:lnTo>
                      <a:pt x="280" y="556"/>
                    </a:lnTo>
                    <a:lnTo>
                      <a:pt x="279" y="557"/>
                    </a:lnTo>
                    <a:lnTo>
                      <a:pt x="278" y="556"/>
                    </a:lnTo>
                    <a:lnTo>
                      <a:pt x="278" y="557"/>
                    </a:lnTo>
                    <a:lnTo>
                      <a:pt x="279" y="560"/>
                    </a:lnTo>
                    <a:lnTo>
                      <a:pt x="279" y="561"/>
                    </a:lnTo>
                    <a:lnTo>
                      <a:pt x="277" y="563"/>
                    </a:lnTo>
                    <a:lnTo>
                      <a:pt x="276" y="564"/>
                    </a:lnTo>
                    <a:lnTo>
                      <a:pt x="273" y="566"/>
                    </a:lnTo>
                    <a:lnTo>
                      <a:pt x="272" y="567"/>
                    </a:lnTo>
                    <a:lnTo>
                      <a:pt x="273" y="568"/>
                    </a:lnTo>
                    <a:lnTo>
                      <a:pt x="274" y="569"/>
                    </a:lnTo>
                    <a:lnTo>
                      <a:pt x="276" y="570"/>
                    </a:lnTo>
                    <a:lnTo>
                      <a:pt x="277" y="572"/>
                    </a:lnTo>
                    <a:lnTo>
                      <a:pt x="279" y="573"/>
                    </a:lnTo>
                    <a:lnTo>
                      <a:pt x="282" y="574"/>
                    </a:lnTo>
                    <a:lnTo>
                      <a:pt x="283" y="574"/>
                    </a:lnTo>
                    <a:lnTo>
                      <a:pt x="285" y="574"/>
                    </a:lnTo>
                    <a:lnTo>
                      <a:pt x="286" y="574"/>
                    </a:lnTo>
                    <a:lnTo>
                      <a:pt x="288" y="575"/>
                    </a:lnTo>
                    <a:lnTo>
                      <a:pt x="289" y="576"/>
                    </a:lnTo>
                    <a:lnTo>
                      <a:pt x="290" y="579"/>
                    </a:lnTo>
                    <a:lnTo>
                      <a:pt x="290" y="580"/>
                    </a:lnTo>
                    <a:lnTo>
                      <a:pt x="291" y="581"/>
                    </a:lnTo>
                    <a:lnTo>
                      <a:pt x="291" y="580"/>
                    </a:lnTo>
                    <a:lnTo>
                      <a:pt x="292" y="580"/>
                    </a:lnTo>
                    <a:lnTo>
                      <a:pt x="292" y="579"/>
                    </a:lnTo>
                    <a:lnTo>
                      <a:pt x="294" y="578"/>
                    </a:lnTo>
                    <a:lnTo>
                      <a:pt x="294" y="576"/>
                    </a:lnTo>
                    <a:lnTo>
                      <a:pt x="295" y="576"/>
                    </a:lnTo>
                    <a:lnTo>
                      <a:pt x="296" y="576"/>
                    </a:lnTo>
                    <a:lnTo>
                      <a:pt x="298" y="576"/>
                    </a:lnTo>
                    <a:lnTo>
                      <a:pt x="298" y="578"/>
                    </a:lnTo>
                    <a:lnTo>
                      <a:pt x="300" y="578"/>
                    </a:lnTo>
                    <a:lnTo>
                      <a:pt x="301" y="578"/>
                    </a:lnTo>
                    <a:lnTo>
                      <a:pt x="302" y="579"/>
                    </a:lnTo>
                    <a:lnTo>
                      <a:pt x="303" y="579"/>
                    </a:lnTo>
                    <a:lnTo>
                      <a:pt x="304" y="579"/>
                    </a:lnTo>
                    <a:lnTo>
                      <a:pt x="306" y="578"/>
                    </a:lnTo>
                    <a:lnTo>
                      <a:pt x="307" y="578"/>
                    </a:lnTo>
                    <a:lnTo>
                      <a:pt x="308" y="578"/>
                    </a:lnTo>
                    <a:lnTo>
                      <a:pt x="308" y="579"/>
                    </a:lnTo>
                    <a:lnTo>
                      <a:pt x="308" y="580"/>
                    </a:lnTo>
                    <a:lnTo>
                      <a:pt x="308" y="581"/>
                    </a:lnTo>
                    <a:lnTo>
                      <a:pt x="308" y="582"/>
                    </a:lnTo>
                    <a:lnTo>
                      <a:pt x="309" y="584"/>
                    </a:lnTo>
                    <a:lnTo>
                      <a:pt x="309" y="585"/>
                    </a:lnTo>
                    <a:lnTo>
                      <a:pt x="310" y="586"/>
                    </a:lnTo>
                    <a:lnTo>
                      <a:pt x="310" y="587"/>
                    </a:lnTo>
                    <a:lnTo>
                      <a:pt x="310" y="588"/>
                    </a:lnTo>
                    <a:lnTo>
                      <a:pt x="309" y="590"/>
                    </a:lnTo>
                    <a:lnTo>
                      <a:pt x="309" y="591"/>
                    </a:lnTo>
                    <a:lnTo>
                      <a:pt x="309" y="592"/>
                    </a:lnTo>
                    <a:lnTo>
                      <a:pt x="309" y="593"/>
                    </a:lnTo>
                    <a:lnTo>
                      <a:pt x="308" y="594"/>
                    </a:lnTo>
                    <a:lnTo>
                      <a:pt x="309" y="596"/>
                    </a:lnTo>
                    <a:lnTo>
                      <a:pt x="309" y="597"/>
                    </a:lnTo>
                    <a:lnTo>
                      <a:pt x="309" y="598"/>
                    </a:lnTo>
                    <a:lnTo>
                      <a:pt x="308" y="599"/>
                    </a:lnTo>
                    <a:lnTo>
                      <a:pt x="308" y="600"/>
                    </a:lnTo>
                    <a:lnTo>
                      <a:pt x="308" y="602"/>
                    </a:lnTo>
                    <a:lnTo>
                      <a:pt x="308" y="603"/>
                    </a:lnTo>
                    <a:lnTo>
                      <a:pt x="307" y="603"/>
                    </a:lnTo>
                    <a:lnTo>
                      <a:pt x="308" y="604"/>
                    </a:lnTo>
                    <a:lnTo>
                      <a:pt x="307" y="604"/>
                    </a:lnTo>
                    <a:lnTo>
                      <a:pt x="307" y="605"/>
                    </a:lnTo>
                    <a:lnTo>
                      <a:pt x="306" y="606"/>
                    </a:lnTo>
                    <a:lnTo>
                      <a:pt x="306" y="608"/>
                    </a:lnTo>
                    <a:lnTo>
                      <a:pt x="304" y="608"/>
                    </a:lnTo>
                    <a:lnTo>
                      <a:pt x="303" y="608"/>
                    </a:lnTo>
                    <a:lnTo>
                      <a:pt x="302" y="609"/>
                    </a:lnTo>
                    <a:lnTo>
                      <a:pt x="302" y="610"/>
                    </a:lnTo>
                    <a:lnTo>
                      <a:pt x="303" y="611"/>
                    </a:lnTo>
                    <a:lnTo>
                      <a:pt x="303" y="612"/>
                    </a:lnTo>
                    <a:lnTo>
                      <a:pt x="304" y="614"/>
                    </a:lnTo>
                    <a:lnTo>
                      <a:pt x="306" y="614"/>
                    </a:lnTo>
                    <a:lnTo>
                      <a:pt x="307" y="615"/>
                    </a:lnTo>
                    <a:lnTo>
                      <a:pt x="308" y="615"/>
                    </a:lnTo>
                    <a:lnTo>
                      <a:pt x="307" y="616"/>
                    </a:lnTo>
                    <a:lnTo>
                      <a:pt x="307" y="617"/>
                    </a:lnTo>
                    <a:lnTo>
                      <a:pt x="306" y="618"/>
                    </a:lnTo>
                    <a:lnTo>
                      <a:pt x="306" y="620"/>
                    </a:lnTo>
                    <a:lnTo>
                      <a:pt x="306" y="621"/>
                    </a:lnTo>
                    <a:lnTo>
                      <a:pt x="304" y="622"/>
                    </a:lnTo>
                    <a:lnTo>
                      <a:pt x="303" y="623"/>
                    </a:lnTo>
                    <a:lnTo>
                      <a:pt x="303" y="624"/>
                    </a:lnTo>
                    <a:lnTo>
                      <a:pt x="303" y="626"/>
                    </a:lnTo>
                    <a:lnTo>
                      <a:pt x="304" y="627"/>
                    </a:lnTo>
                    <a:lnTo>
                      <a:pt x="304" y="626"/>
                    </a:lnTo>
                    <a:lnTo>
                      <a:pt x="306" y="627"/>
                    </a:lnTo>
                    <a:lnTo>
                      <a:pt x="307" y="626"/>
                    </a:lnTo>
                    <a:lnTo>
                      <a:pt x="307" y="624"/>
                    </a:lnTo>
                    <a:lnTo>
                      <a:pt x="309" y="624"/>
                    </a:lnTo>
                    <a:lnTo>
                      <a:pt x="310" y="626"/>
                    </a:lnTo>
                    <a:lnTo>
                      <a:pt x="312" y="624"/>
                    </a:lnTo>
                    <a:lnTo>
                      <a:pt x="313" y="624"/>
                    </a:lnTo>
                    <a:lnTo>
                      <a:pt x="314" y="624"/>
                    </a:lnTo>
                    <a:lnTo>
                      <a:pt x="314" y="626"/>
                    </a:lnTo>
                    <a:lnTo>
                      <a:pt x="315" y="626"/>
                    </a:lnTo>
                    <a:lnTo>
                      <a:pt x="318" y="626"/>
                    </a:lnTo>
                    <a:lnTo>
                      <a:pt x="318" y="624"/>
                    </a:lnTo>
                    <a:lnTo>
                      <a:pt x="319" y="624"/>
                    </a:lnTo>
                    <a:lnTo>
                      <a:pt x="319" y="626"/>
                    </a:lnTo>
                    <a:lnTo>
                      <a:pt x="320" y="626"/>
                    </a:lnTo>
                    <a:lnTo>
                      <a:pt x="321" y="626"/>
                    </a:lnTo>
                    <a:lnTo>
                      <a:pt x="321" y="624"/>
                    </a:lnTo>
                    <a:lnTo>
                      <a:pt x="321" y="623"/>
                    </a:lnTo>
                    <a:lnTo>
                      <a:pt x="322" y="622"/>
                    </a:lnTo>
                    <a:lnTo>
                      <a:pt x="322" y="621"/>
                    </a:lnTo>
                    <a:lnTo>
                      <a:pt x="324" y="621"/>
                    </a:lnTo>
                    <a:lnTo>
                      <a:pt x="325" y="621"/>
                    </a:lnTo>
                    <a:lnTo>
                      <a:pt x="326" y="620"/>
                    </a:lnTo>
                    <a:lnTo>
                      <a:pt x="327" y="620"/>
                    </a:lnTo>
                    <a:lnTo>
                      <a:pt x="328" y="618"/>
                    </a:lnTo>
                    <a:lnTo>
                      <a:pt x="328" y="617"/>
                    </a:lnTo>
                    <a:lnTo>
                      <a:pt x="330" y="617"/>
                    </a:lnTo>
                    <a:lnTo>
                      <a:pt x="331" y="615"/>
                    </a:lnTo>
                    <a:lnTo>
                      <a:pt x="332" y="615"/>
                    </a:lnTo>
                    <a:lnTo>
                      <a:pt x="333" y="614"/>
                    </a:lnTo>
                    <a:lnTo>
                      <a:pt x="334" y="612"/>
                    </a:lnTo>
                    <a:lnTo>
                      <a:pt x="336" y="614"/>
                    </a:lnTo>
                    <a:lnTo>
                      <a:pt x="337" y="614"/>
                    </a:lnTo>
                    <a:lnTo>
                      <a:pt x="337" y="615"/>
                    </a:lnTo>
                    <a:lnTo>
                      <a:pt x="338" y="615"/>
                    </a:lnTo>
                    <a:lnTo>
                      <a:pt x="338" y="616"/>
                    </a:lnTo>
                    <a:lnTo>
                      <a:pt x="338" y="617"/>
                    </a:lnTo>
                    <a:lnTo>
                      <a:pt x="339" y="617"/>
                    </a:lnTo>
                    <a:lnTo>
                      <a:pt x="339" y="618"/>
                    </a:lnTo>
                    <a:lnTo>
                      <a:pt x="339" y="620"/>
                    </a:lnTo>
                    <a:lnTo>
                      <a:pt x="339" y="621"/>
                    </a:lnTo>
                    <a:lnTo>
                      <a:pt x="339" y="622"/>
                    </a:lnTo>
                    <a:lnTo>
                      <a:pt x="339" y="623"/>
                    </a:lnTo>
                    <a:lnTo>
                      <a:pt x="339" y="624"/>
                    </a:lnTo>
                    <a:lnTo>
                      <a:pt x="339" y="626"/>
                    </a:lnTo>
                    <a:lnTo>
                      <a:pt x="339" y="627"/>
                    </a:lnTo>
                    <a:lnTo>
                      <a:pt x="340" y="629"/>
                    </a:lnTo>
                    <a:lnTo>
                      <a:pt x="342" y="629"/>
                    </a:lnTo>
                    <a:lnTo>
                      <a:pt x="342" y="630"/>
                    </a:lnTo>
                    <a:lnTo>
                      <a:pt x="343" y="632"/>
                    </a:lnTo>
                    <a:lnTo>
                      <a:pt x="343" y="633"/>
                    </a:lnTo>
                    <a:lnTo>
                      <a:pt x="344" y="633"/>
                    </a:lnTo>
                    <a:lnTo>
                      <a:pt x="344" y="634"/>
                    </a:lnTo>
                    <a:lnTo>
                      <a:pt x="343" y="635"/>
                    </a:lnTo>
                    <a:lnTo>
                      <a:pt x="345" y="636"/>
                    </a:lnTo>
                    <a:lnTo>
                      <a:pt x="346" y="636"/>
                    </a:lnTo>
                    <a:lnTo>
                      <a:pt x="345" y="638"/>
                    </a:lnTo>
                    <a:lnTo>
                      <a:pt x="345" y="639"/>
                    </a:lnTo>
                    <a:lnTo>
                      <a:pt x="345" y="640"/>
                    </a:lnTo>
                    <a:lnTo>
                      <a:pt x="346" y="641"/>
                    </a:lnTo>
                    <a:lnTo>
                      <a:pt x="348" y="642"/>
                    </a:lnTo>
                    <a:lnTo>
                      <a:pt x="348" y="644"/>
                    </a:lnTo>
                    <a:lnTo>
                      <a:pt x="349" y="644"/>
                    </a:lnTo>
                    <a:lnTo>
                      <a:pt x="350" y="645"/>
                    </a:lnTo>
                    <a:lnTo>
                      <a:pt x="351" y="646"/>
                    </a:lnTo>
                    <a:lnTo>
                      <a:pt x="350" y="646"/>
                    </a:lnTo>
                    <a:lnTo>
                      <a:pt x="350" y="647"/>
                    </a:lnTo>
                    <a:lnTo>
                      <a:pt x="350" y="648"/>
                    </a:lnTo>
                    <a:lnTo>
                      <a:pt x="350" y="650"/>
                    </a:lnTo>
                    <a:lnTo>
                      <a:pt x="351" y="650"/>
                    </a:lnTo>
                    <a:lnTo>
                      <a:pt x="352" y="650"/>
                    </a:lnTo>
                    <a:lnTo>
                      <a:pt x="352" y="651"/>
                    </a:lnTo>
                    <a:lnTo>
                      <a:pt x="352" y="652"/>
                    </a:lnTo>
                    <a:lnTo>
                      <a:pt x="352" y="653"/>
                    </a:lnTo>
                    <a:lnTo>
                      <a:pt x="352" y="654"/>
                    </a:lnTo>
                    <a:lnTo>
                      <a:pt x="354" y="654"/>
                    </a:lnTo>
                    <a:lnTo>
                      <a:pt x="355" y="654"/>
                    </a:lnTo>
                    <a:lnTo>
                      <a:pt x="355" y="656"/>
                    </a:lnTo>
                    <a:lnTo>
                      <a:pt x="356" y="657"/>
                    </a:lnTo>
                    <a:lnTo>
                      <a:pt x="357" y="657"/>
                    </a:lnTo>
                    <a:lnTo>
                      <a:pt x="358" y="657"/>
                    </a:lnTo>
                    <a:lnTo>
                      <a:pt x="360" y="656"/>
                    </a:lnTo>
                    <a:lnTo>
                      <a:pt x="360" y="654"/>
                    </a:lnTo>
                    <a:lnTo>
                      <a:pt x="361" y="653"/>
                    </a:lnTo>
                    <a:lnTo>
                      <a:pt x="361" y="652"/>
                    </a:lnTo>
                    <a:lnTo>
                      <a:pt x="362" y="652"/>
                    </a:lnTo>
                    <a:lnTo>
                      <a:pt x="362" y="653"/>
                    </a:lnTo>
                    <a:lnTo>
                      <a:pt x="363" y="653"/>
                    </a:lnTo>
                    <a:lnTo>
                      <a:pt x="363" y="652"/>
                    </a:lnTo>
                    <a:lnTo>
                      <a:pt x="364" y="652"/>
                    </a:lnTo>
                    <a:lnTo>
                      <a:pt x="366" y="651"/>
                    </a:lnTo>
                    <a:lnTo>
                      <a:pt x="366" y="650"/>
                    </a:lnTo>
                    <a:lnTo>
                      <a:pt x="367" y="650"/>
                    </a:lnTo>
                    <a:lnTo>
                      <a:pt x="367" y="648"/>
                    </a:lnTo>
                    <a:lnTo>
                      <a:pt x="368" y="648"/>
                    </a:lnTo>
                    <a:lnTo>
                      <a:pt x="368" y="647"/>
                    </a:lnTo>
                    <a:lnTo>
                      <a:pt x="369" y="646"/>
                    </a:lnTo>
                    <a:lnTo>
                      <a:pt x="370" y="646"/>
                    </a:lnTo>
                    <a:lnTo>
                      <a:pt x="370" y="645"/>
                    </a:lnTo>
                    <a:lnTo>
                      <a:pt x="372" y="646"/>
                    </a:lnTo>
                    <a:lnTo>
                      <a:pt x="372" y="647"/>
                    </a:lnTo>
                    <a:lnTo>
                      <a:pt x="372" y="648"/>
                    </a:lnTo>
                    <a:lnTo>
                      <a:pt x="372" y="650"/>
                    </a:lnTo>
                    <a:lnTo>
                      <a:pt x="373" y="650"/>
                    </a:lnTo>
                    <a:lnTo>
                      <a:pt x="374" y="651"/>
                    </a:lnTo>
                    <a:lnTo>
                      <a:pt x="375" y="651"/>
                    </a:lnTo>
                    <a:lnTo>
                      <a:pt x="375" y="652"/>
                    </a:lnTo>
                    <a:lnTo>
                      <a:pt x="375" y="653"/>
                    </a:lnTo>
                    <a:lnTo>
                      <a:pt x="375" y="654"/>
                    </a:lnTo>
                    <a:lnTo>
                      <a:pt x="375" y="656"/>
                    </a:lnTo>
                    <a:lnTo>
                      <a:pt x="376" y="656"/>
                    </a:lnTo>
                    <a:lnTo>
                      <a:pt x="378" y="656"/>
                    </a:lnTo>
                    <a:lnTo>
                      <a:pt x="379" y="654"/>
                    </a:lnTo>
                    <a:lnTo>
                      <a:pt x="380" y="654"/>
                    </a:lnTo>
                    <a:lnTo>
                      <a:pt x="381" y="654"/>
                    </a:lnTo>
                    <a:lnTo>
                      <a:pt x="381" y="653"/>
                    </a:lnTo>
                    <a:lnTo>
                      <a:pt x="382" y="654"/>
                    </a:lnTo>
                    <a:lnTo>
                      <a:pt x="384" y="654"/>
                    </a:lnTo>
                    <a:lnTo>
                      <a:pt x="385" y="653"/>
                    </a:lnTo>
                    <a:lnTo>
                      <a:pt x="386" y="653"/>
                    </a:lnTo>
                    <a:lnTo>
                      <a:pt x="387" y="653"/>
                    </a:lnTo>
                    <a:lnTo>
                      <a:pt x="388" y="652"/>
                    </a:lnTo>
                    <a:lnTo>
                      <a:pt x="390" y="652"/>
                    </a:lnTo>
                    <a:lnTo>
                      <a:pt x="391" y="652"/>
                    </a:lnTo>
                    <a:lnTo>
                      <a:pt x="391" y="651"/>
                    </a:lnTo>
                    <a:lnTo>
                      <a:pt x="391" y="650"/>
                    </a:lnTo>
                    <a:lnTo>
                      <a:pt x="392" y="650"/>
                    </a:lnTo>
                    <a:lnTo>
                      <a:pt x="392" y="648"/>
                    </a:lnTo>
                    <a:lnTo>
                      <a:pt x="393" y="647"/>
                    </a:lnTo>
                    <a:lnTo>
                      <a:pt x="394" y="647"/>
                    </a:lnTo>
                    <a:lnTo>
                      <a:pt x="396" y="647"/>
                    </a:lnTo>
                    <a:lnTo>
                      <a:pt x="397" y="647"/>
                    </a:lnTo>
                    <a:lnTo>
                      <a:pt x="398" y="646"/>
                    </a:lnTo>
                    <a:lnTo>
                      <a:pt x="398" y="645"/>
                    </a:lnTo>
                    <a:lnTo>
                      <a:pt x="399" y="644"/>
                    </a:lnTo>
                    <a:lnTo>
                      <a:pt x="400" y="644"/>
                    </a:lnTo>
                    <a:lnTo>
                      <a:pt x="400" y="642"/>
                    </a:lnTo>
                    <a:lnTo>
                      <a:pt x="402" y="641"/>
                    </a:lnTo>
                    <a:lnTo>
                      <a:pt x="403" y="641"/>
                    </a:lnTo>
                    <a:lnTo>
                      <a:pt x="403" y="640"/>
                    </a:lnTo>
                    <a:lnTo>
                      <a:pt x="404" y="640"/>
                    </a:lnTo>
                    <a:lnTo>
                      <a:pt x="405" y="640"/>
                    </a:lnTo>
                    <a:lnTo>
                      <a:pt x="405" y="639"/>
                    </a:lnTo>
                    <a:lnTo>
                      <a:pt x="406" y="639"/>
                    </a:lnTo>
                    <a:lnTo>
                      <a:pt x="408" y="639"/>
                    </a:lnTo>
                    <a:lnTo>
                      <a:pt x="408" y="638"/>
                    </a:lnTo>
                    <a:lnTo>
                      <a:pt x="409" y="636"/>
                    </a:lnTo>
                    <a:lnTo>
                      <a:pt x="410" y="636"/>
                    </a:lnTo>
                    <a:lnTo>
                      <a:pt x="410" y="635"/>
                    </a:lnTo>
                    <a:lnTo>
                      <a:pt x="410" y="634"/>
                    </a:lnTo>
                    <a:lnTo>
                      <a:pt x="410" y="633"/>
                    </a:lnTo>
                    <a:lnTo>
                      <a:pt x="411" y="633"/>
                    </a:lnTo>
                    <a:lnTo>
                      <a:pt x="412" y="633"/>
                    </a:lnTo>
                    <a:lnTo>
                      <a:pt x="414" y="633"/>
                    </a:lnTo>
                    <a:lnTo>
                      <a:pt x="414" y="634"/>
                    </a:lnTo>
                    <a:lnTo>
                      <a:pt x="415" y="634"/>
                    </a:lnTo>
                    <a:lnTo>
                      <a:pt x="415" y="635"/>
                    </a:lnTo>
                    <a:lnTo>
                      <a:pt x="415" y="636"/>
                    </a:lnTo>
                    <a:lnTo>
                      <a:pt x="416" y="638"/>
                    </a:lnTo>
                    <a:lnTo>
                      <a:pt x="416" y="639"/>
                    </a:lnTo>
                    <a:lnTo>
                      <a:pt x="417" y="640"/>
                    </a:lnTo>
                    <a:lnTo>
                      <a:pt x="418" y="640"/>
                    </a:lnTo>
                    <a:lnTo>
                      <a:pt x="420" y="641"/>
                    </a:lnTo>
                    <a:lnTo>
                      <a:pt x="421" y="642"/>
                    </a:lnTo>
                    <a:lnTo>
                      <a:pt x="422" y="641"/>
                    </a:lnTo>
                    <a:lnTo>
                      <a:pt x="422" y="642"/>
                    </a:lnTo>
                    <a:lnTo>
                      <a:pt x="423" y="641"/>
                    </a:lnTo>
                    <a:lnTo>
                      <a:pt x="424" y="641"/>
                    </a:lnTo>
                    <a:lnTo>
                      <a:pt x="426" y="641"/>
                    </a:lnTo>
                    <a:lnTo>
                      <a:pt x="427" y="641"/>
                    </a:lnTo>
                    <a:lnTo>
                      <a:pt x="427" y="640"/>
                    </a:lnTo>
                    <a:lnTo>
                      <a:pt x="428" y="640"/>
                    </a:lnTo>
                    <a:lnTo>
                      <a:pt x="428" y="639"/>
                    </a:lnTo>
                    <a:lnTo>
                      <a:pt x="429" y="638"/>
                    </a:lnTo>
                    <a:lnTo>
                      <a:pt x="429" y="636"/>
                    </a:lnTo>
                    <a:lnTo>
                      <a:pt x="429" y="635"/>
                    </a:lnTo>
                    <a:lnTo>
                      <a:pt x="430" y="635"/>
                    </a:lnTo>
                    <a:lnTo>
                      <a:pt x="432" y="634"/>
                    </a:lnTo>
                    <a:lnTo>
                      <a:pt x="432" y="635"/>
                    </a:lnTo>
                    <a:lnTo>
                      <a:pt x="433" y="635"/>
                    </a:lnTo>
                    <a:lnTo>
                      <a:pt x="432" y="636"/>
                    </a:lnTo>
                    <a:lnTo>
                      <a:pt x="432" y="638"/>
                    </a:lnTo>
                    <a:lnTo>
                      <a:pt x="432" y="639"/>
                    </a:lnTo>
                    <a:lnTo>
                      <a:pt x="433" y="639"/>
                    </a:lnTo>
                    <a:lnTo>
                      <a:pt x="433" y="640"/>
                    </a:lnTo>
                    <a:lnTo>
                      <a:pt x="433" y="641"/>
                    </a:lnTo>
                    <a:lnTo>
                      <a:pt x="434" y="641"/>
                    </a:lnTo>
                    <a:lnTo>
                      <a:pt x="434" y="642"/>
                    </a:lnTo>
                    <a:lnTo>
                      <a:pt x="433" y="642"/>
                    </a:lnTo>
                    <a:lnTo>
                      <a:pt x="433" y="644"/>
                    </a:lnTo>
                    <a:lnTo>
                      <a:pt x="433" y="645"/>
                    </a:lnTo>
                    <a:lnTo>
                      <a:pt x="433" y="646"/>
                    </a:lnTo>
                    <a:lnTo>
                      <a:pt x="434" y="646"/>
                    </a:lnTo>
                    <a:lnTo>
                      <a:pt x="433" y="647"/>
                    </a:lnTo>
                    <a:lnTo>
                      <a:pt x="434" y="648"/>
                    </a:lnTo>
                    <a:lnTo>
                      <a:pt x="434" y="650"/>
                    </a:lnTo>
                    <a:lnTo>
                      <a:pt x="433" y="651"/>
                    </a:lnTo>
                    <a:lnTo>
                      <a:pt x="433" y="652"/>
                    </a:lnTo>
                    <a:lnTo>
                      <a:pt x="433" y="653"/>
                    </a:lnTo>
                    <a:lnTo>
                      <a:pt x="433" y="654"/>
                    </a:lnTo>
                    <a:lnTo>
                      <a:pt x="434" y="654"/>
                    </a:lnTo>
                    <a:lnTo>
                      <a:pt x="435" y="656"/>
                    </a:lnTo>
                    <a:lnTo>
                      <a:pt x="436" y="656"/>
                    </a:lnTo>
                    <a:lnTo>
                      <a:pt x="438" y="657"/>
                    </a:lnTo>
                    <a:lnTo>
                      <a:pt x="438" y="658"/>
                    </a:lnTo>
                    <a:lnTo>
                      <a:pt x="439" y="658"/>
                    </a:lnTo>
                    <a:lnTo>
                      <a:pt x="439" y="659"/>
                    </a:lnTo>
                    <a:lnTo>
                      <a:pt x="439" y="660"/>
                    </a:lnTo>
                    <a:lnTo>
                      <a:pt x="440" y="660"/>
                    </a:lnTo>
                    <a:lnTo>
                      <a:pt x="441" y="660"/>
                    </a:lnTo>
                    <a:lnTo>
                      <a:pt x="442" y="662"/>
                    </a:lnTo>
                    <a:lnTo>
                      <a:pt x="444" y="662"/>
                    </a:lnTo>
                    <a:lnTo>
                      <a:pt x="444" y="660"/>
                    </a:lnTo>
                    <a:lnTo>
                      <a:pt x="445" y="660"/>
                    </a:lnTo>
                    <a:lnTo>
                      <a:pt x="446" y="660"/>
                    </a:lnTo>
                    <a:lnTo>
                      <a:pt x="447" y="660"/>
                    </a:lnTo>
                    <a:lnTo>
                      <a:pt x="448" y="660"/>
                    </a:lnTo>
                    <a:lnTo>
                      <a:pt x="450" y="662"/>
                    </a:lnTo>
                    <a:lnTo>
                      <a:pt x="451" y="662"/>
                    </a:lnTo>
                    <a:lnTo>
                      <a:pt x="452" y="660"/>
                    </a:lnTo>
                    <a:lnTo>
                      <a:pt x="453" y="660"/>
                    </a:lnTo>
                    <a:lnTo>
                      <a:pt x="454" y="660"/>
                    </a:lnTo>
                    <a:lnTo>
                      <a:pt x="454" y="659"/>
                    </a:lnTo>
                    <a:lnTo>
                      <a:pt x="454" y="657"/>
                    </a:lnTo>
                    <a:lnTo>
                      <a:pt x="456" y="656"/>
                    </a:lnTo>
                    <a:lnTo>
                      <a:pt x="456" y="654"/>
                    </a:lnTo>
                    <a:lnTo>
                      <a:pt x="454" y="654"/>
                    </a:lnTo>
                    <a:lnTo>
                      <a:pt x="454" y="653"/>
                    </a:lnTo>
                    <a:lnTo>
                      <a:pt x="454" y="652"/>
                    </a:lnTo>
                    <a:lnTo>
                      <a:pt x="456" y="651"/>
                    </a:lnTo>
                    <a:lnTo>
                      <a:pt x="456" y="652"/>
                    </a:lnTo>
                    <a:lnTo>
                      <a:pt x="457" y="652"/>
                    </a:lnTo>
                    <a:lnTo>
                      <a:pt x="458" y="653"/>
                    </a:lnTo>
                    <a:lnTo>
                      <a:pt x="459" y="653"/>
                    </a:lnTo>
                    <a:lnTo>
                      <a:pt x="460" y="653"/>
                    </a:lnTo>
                    <a:lnTo>
                      <a:pt x="463" y="651"/>
                    </a:lnTo>
                    <a:lnTo>
                      <a:pt x="464" y="651"/>
                    </a:lnTo>
                    <a:lnTo>
                      <a:pt x="464" y="650"/>
                    </a:lnTo>
                    <a:lnTo>
                      <a:pt x="464" y="647"/>
                    </a:lnTo>
                    <a:lnTo>
                      <a:pt x="465" y="647"/>
                    </a:lnTo>
                    <a:lnTo>
                      <a:pt x="465" y="646"/>
                    </a:lnTo>
                    <a:lnTo>
                      <a:pt x="465" y="645"/>
                    </a:lnTo>
                    <a:lnTo>
                      <a:pt x="466" y="645"/>
                    </a:lnTo>
                    <a:lnTo>
                      <a:pt x="466" y="644"/>
                    </a:lnTo>
                    <a:lnTo>
                      <a:pt x="468" y="642"/>
                    </a:lnTo>
                    <a:lnTo>
                      <a:pt x="468" y="641"/>
                    </a:lnTo>
                    <a:lnTo>
                      <a:pt x="469" y="640"/>
                    </a:lnTo>
                    <a:lnTo>
                      <a:pt x="469" y="639"/>
                    </a:lnTo>
                    <a:lnTo>
                      <a:pt x="470" y="638"/>
                    </a:lnTo>
                    <a:lnTo>
                      <a:pt x="3" y="334"/>
                    </a:lnTo>
                    <a:close/>
                  </a:path>
                </a:pathLst>
              </a:custGeom>
              <a:solidFill>
                <a:srgbClr val="EAEAEA"/>
              </a:solidFill>
              <a:ln w="9525" cmpd="sng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35" name="Freeform 23"/>
              <p:cNvSpPr>
                <a:spLocks/>
              </p:cNvSpPr>
              <p:nvPr/>
            </p:nvSpPr>
            <p:spPr bwMode="auto">
              <a:xfrm>
                <a:off x="3033316" y="2771680"/>
                <a:ext cx="362981" cy="224576"/>
              </a:xfrm>
              <a:custGeom>
                <a:avLst/>
                <a:gdLst/>
                <a:ahLst/>
                <a:cxnLst>
                  <a:cxn ang="0">
                    <a:pos x="210" y="183"/>
                  </a:cxn>
                  <a:cxn ang="0">
                    <a:pos x="220" y="174"/>
                  </a:cxn>
                  <a:cxn ang="0">
                    <a:pos x="230" y="166"/>
                  </a:cxn>
                  <a:cxn ang="0">
                    <a:pos x="232" y="150"/>
                  </a:cxn>
                  <a:cxn ang="0">
                    <a:pos x="228" y="138"/>
                  </a:cxn>
                  <a:cxn ang="0">
                    <a:pos x="233" y="125"/>
                  </a:cxn>
                  <a:cxn ang="0">
                    <a:pos x="245" y="118"/>
                  </a:cxn>
                  <a:cxn ang="0">
                    <a:pos x="247" y="100"/>
                  </a:cxn>
                  <a:cxn ang="0">
                    <a:pos x="224" y="101"/>
                  </a:cxn>
                  <a:cxn ang="0">
                    <a:pos x="210" y="107"/>
                  </a:cxn>
                  <a:cxn ang="0">
                    <a:pos x="200" y="105"/>
                  </a:cxn>
                  <a:cxn ang="0">
                    <a:pos x="204" y="90"/>
                  </a:cxn>
                  <a:cxn ang="0">
                    <a:pos x="209" y="78"/>
                  </a:cxn>
                  <a:cxn ang="0">
                    <a:pos x="210" y="62"/>
                  </a:cxn>
                  <a:cxn ang="0">
                    <a:pos x="208" y="50"/>
                  </a:cxn>
                  <a:cxn ang="0">
                    <a:pos x="196" y="39"/>
                  </a:cxn>
                  <a:cxn ang="0">
                    <a:pos x="197" y="27"/>
                  </a:cxn>
                  <a:cxn ang="0">
                    <a:pos x="197" y="10"/>
                  </a:cxn>
                  <a:cxn ang="0">
                    <a:pos x="181" y="5"/>
                  </a:cxn>
                  <a:cxn ang="0">
                    <a:pos x="169" y="8"/>
                  </a:cxn>
                  <a:cxn ang="0">
                    <a:pos x="156" y="2"/>
                  </a:cxn>
                  <a:cxn ang="0">
                    <a:pos x="145" y="10"/>
                  </a:cxn>
                  <a:cxn ang="0">
                    <a:pos x="136" y="17"/>
                  </a:cxn>
                  <a:cxn ang="0">
                    <a:pos x="133" y="30"/>
                  </a:cxn>
                  <a:cxn ang="0">
                    <a:pos x="131" y="42"/>
                  </a:cxn>
                  <a:cxn ang="0">
                    <a:pos x="125" y="53"/>
                  </a:cxn>
                  <a:cxn ang="0">
                    <a:pos x="116" y="40"/>
                  </a:cxn>
                  <a:cxn ang="0">
                    <a:pos x="103" y="36"/>
                  </a:cxn>
                  <a:cxn ang="0">
                    <a:pos x="88" y="42"/>
                  </a:cxn>
                  <a:cxn ang="0">
                    <a:pos x="85" y="54"/>
                  </a:cxn>
                  <a:cxn ang="0">
                    <a:pos x="83" y="69"/>
                  </a:cxn>
                  <a:cxn ang="0">
                    <a:pos x="80" y="82"/>
                  </a:cxn>
                  <a:cxn ang="0">
                    <a:pos x="70" y="86"/>
                  </a:cxn>
                  <a:cxn ang="0">
                    <a:pos x="38" y="83"/>
                  </a:cxn>
                  <a:cxn ang="0">
                    <a:pos x="17" y="92"/>
                  </a:cxn>
                  <a:cxn ang="0">
                    <a:pos x="7" y="105"/>
                  </a:cxn>
                  <a:cxn ang="0">
                    <a:pos x="16" y="119"/>
                  </a:cxn>
                  <a:cxn ang="0">
                    <a:pos x="28" y="122"/>
                  </a:cxn>
                  <a:cxn ang="0">
                    <a:pos x="38" y="130"/>
                  </a:cxn>
                  <a:cxn ang="0">
                    <a:pos x="36" y="147"/>
                  </a:cxn>
                  <a:cxn ang="0">
                    <a:pos x="34" y="158"/>
                  </a:cxn>
                  <a:cxn ang="0">
                    <a:pos x="34" y="171"/>
                  </a:cxn>
                  <a:cxn ang="0">
                    <a:pos x="48" y="170"/>
                  </a:cxn>
                  <a:cxn ang="0">
                    <a:pos x="60" y="159"/>
                  </a:cxn>
                  <a:cxn ang="0">
                    <a:pos x="67" y="167"/>
                  </a:cxn>
                  <a:cxn ang="0">
                    <a:pos x="73" y="182"/>
                  </a:cxn>
                  <a:cxn ang="0">
                    <a:pos x="80" y="194"/>
                  </a:cxn>
                  <a:cxn ang="0">
                    <a:pos x="89" y="196"/>
                  </a:cxn>
                  <a:cxn ang="0">
                    <a:pos x="98" y="189"/>
                  </a:cxn>
                  <a:cxn ang="0">
                    <a:pos x="107" y="198"/>
                  </a:cxn>
                  <a:cxn ang="0">
                    <a:pos x="120" y="194"/>
                  </a:cxn>
                  <a:cxn ang="0">
                    <a:pos x="132" y="184"/>
                  </a:cxn>
                  <a:cxn ang="0">
                    <a:pos x="142" y="178"/>
                  </a:cxn>
                  <a:cxn ang="0">
                    <a:pos x="154" y="185"/>
                  </a:cxn>
                  <a:cxn ang="0">
                    <a:pos x="160" y="183"/>
                  </a:cxn>
                  <a:cxn ang="0">
                    <a:pos x="161" y="195"/>
                  </a:cxn>
                  <a:cxn ang="0">
                    <a:pos x="170" y="206"/>
                  </a:cxn>
                  <a:cxn ang="0">
                    <a:pos x="184" y="200"/>
                  </a:cxn>
                  <a:cxn ang="0">
                    <a:pos x="192" y="191"/>
                  </a:cxn>
                </a:cxnLst>
                <a:rect l="0" t="0" r="r" b="b"/>
                <a:pathLst>
                  <a:path w="251" h="206">
                    <a:moveTo>
                      <a:pt x="198" y="182"/>
                    </a:moveTo>
                    <a:lnTo>
                      <a:pt x="199" y="182"/>
                    </a:lnTo>
                    <a:lnTo>
                      <a:pt x="200" y="180"/>
                    </a:lnTo>
                    <a:lnTo>
                      <a:pt x="202" y="180"/>
                    </a:lnTo>
                    <a:lnTo>
                      <a:pt x="203" y="180"/>
                    </a:lnTo>
                    <a:lnTo>
                      <a:pt x="203" y="182"/>
                    </a:lnTo>
                    <a:lnTo>
                      <a:pt x="203" y="180"/>
                    </a:lnTo>
                    <a:lnTo>
                      <a:pt x="204" y="182"/>
                    </a:lnTo>
                    <a:lnTo>
                      <a:pt x="205" y="182"/>
                    </a:lnTo>
                    <a:lnTo>
                      <a:pt x="206" y="183"/>
                    </a:lnTo>
                    <a:lnTo>
                      <a:pt x="209" y="183"/>
                    </a:lnTo>
                    <a:lnTo>
                      <a:pt x="209" y="184"/>
                    </a:lnTo>
                    <a:lnTo>
                      <a:pt x="210" y="184"/>
                    </a:lnTo>
                    <a:lnTo>
                      <a:pt x="210" y="183"/>
                    </a:lnTo>
                    <a:lnTo>
                      <a:pt x="211" y="182"/>
                    </a:lnTo>
                    <a:lnTo>
                      <a:pt x="211" y="180"/>
                    </a:lnTo>
                    <a:lnTo>
                      <a:pt x="212" y="179"/>
                    </a:lnTo>
                    <a:lnTo>
                      <a:pt x="214" y="178"/>
                    </a:lnTo>
                    <a:lnTo>
                      <a:pt x="214" y="177"/>
                    </a:lnTo>
                    <a:lnTo>
                      <a:pt x="215" y="177"/>
                    </a:lnTo>
                    <a:lnTo>
                      <a:pt x="216" y="177"/>
                    </a:lnTo>
                    <a:lnTo>
                      <a:pt x="217" y="177"/>
                    </a:lnTo>
                    <a:lnTo>
                      <a:pt x="218" y="177"/>
                    </a:lnTo>
                    <a:lnTo>
                      <a:pt x="220" y="177"/>
                    </a:lnTo>
                    <a:lnTo>
                      <a:pt x="220" y="176"/>
                    </a:lnTo>
                    <a:lnTo>
                      <a:pt x="221" y="176"/>
                    </a:lnTo>
                    <a:lnTo>
                      <a:pt x="221" y="174"/>
                    </a:lnTo>
                    <a:lnTo>
                      <a:pt x="220" y="174"/>
                    </a:lnTo>
                    <a:lnTo>
                      <a:pt x="218" y="174"/>
                    </a:lnTo>
                    <a:lnTo>
                      <a:pt x="218" y="173"/>
                    </a:lnTo>
                    <a:lnTo>
                      <a:pt x="218" y="172"/>
                    </a:lnTo>
                    <a:lnTo>
                      <a:pt x="218" y="171"/>
                    </a:lnTo>
                    <a:lnTo>
                      <a:pt x="220" y="171"/>
                    </a:lnTo>
                    <a:lnTo>
                      <a:pt x="221" y="171"/>
                    </a:lnTo>
                    <a:lnTo>
                      <a:pt x="222" y="172"/>
                    </a:lnTo>
                    <a:lnTo>
                      <a:pt x="223" y="172"/>
                    </a:lnTo>
                    <a:lnTo>
                      <a:pt x="224" y="171"/>
                    </a:lnTo>
                    <a:lnTo>
                      <a:pt x="226" y="171"/>
                    </a:lnTo>
                    <a:lnTo>
                      <a:pt x="227" y="170"/>
                    </a:lnTo>
                    <a:lnTo>
                      <a:pt x="228" y="167"/>
                    </a:lnTo>
                    <a:lnTo>
                      <a:pt x="230" y="167"/>
                    </a:lnTo>
                    <a:lnTo>
                      <a:pt x="230" y="166"/>
                    </a:lnTo>
                    <a:lnTo>
                      <a:pt x="230" y="165"/>
                    </a:lnTo>
                    <a:lnTo>
                      <a:pt x="230" y="164"/>
                    </a:lnTo>
                    <a:lnTo>
                      <a:pt x="232" y="162"/>
                    </a:lnTo>
                    <a:lnTo>
                      <a:pt x="233" y="161"/>
                    </a:lnTo>
                    <a:lnTo>
                      <a:pt x="234" y="159"/>
                    </a:lnTo>
                    <a:lnTo>
                      <a:pt x="235" y="158"/>
                    </a:lnTo>
                    <a:lnTo>
                      <a:pt x="235" y="156"/>
                    </a:lnTo>
                    <a:lnTo>
                      <a:pt x="236" y="155"/>
                    </a:lnTo>
                    <a:lnTo>
                      <a:pt x="236" y="154"/>
                    </a:lnTo>
                    <a:lnTo>
                      <a:pt x="236" y="152"/>
                    </a:lnTo>
                    <a:lnTo>
                      <a:pt x="235" y="150"/>
                    </a:lnTo>
                    <a:lnTo>
                      <a:pt x="234" y="150"/>
                    </a:lnTo>
                    <a:lnTo>
                      <a:pt x="233" y="150"/>
                    </a:lnTo>
                    <a:lnTo>
                      <a:pt x="232" y="150"/>
                    </a:lnTo>
                    <a:lnTo>
                      <a:pt x="230" y="149"/>
                    </a:lnTo>
                    <a:lnTo>
                      <a:pt x="229" y="149"/>
                    </a:lnTo>
                    <a:lnTo>
                      <a:pt x="229" y="150"/>
                    </a:lnTo>
                    <a:lnTo>
                      <a:pt x="228" y="150"/>
                    </a:lnTo>
                    <a:lnTo>
                      <a:pt x="228" y="149"/>
                    </a:lnTo>
                    <a:lnTo>
                      <a:pt x="227" y="149"/>
                    </a:lnTo>
                    <a:lnTo>
                      <a:pt x="224" y="147"/>
                    </a:lnTo>
                    <a:lnTo>
                      <a:pt x="224" y="146"/>
                    </a:lnTo>
                    <a:lnTo>
                      <a:pt x="224" y="144"/>
                    </a:lnTo>
                    <a:lnTo>
                      <a:pt x="226" y="143"/>
                    </a:lnTo>
                    <a:lnTo>
                      <a:pt x="226" y="142"/>
                    </a:lnTo>
                    <a:lnTo>
                      <a:pt x="227" y="141"/>
                    </a:lnTo>
                    <a:lnTo>
                      <a:pt x="227" y="140"/>
                    </a:lnTo>
                    <a:lnTo>
                      <a:pt x="228" y="138"/>
                    </a:lnTo>
                    <a:lnTo>
                      <a:pt x="228" y="137"/>
                    </a:lnTo>
                    <a:lnTo>
                      <a:pt x="228" y="136"/>
                    </a:lnTo>
                    <a:lnTo>
                      <a:pt x="228" y="135"/>
                    </a:lnTo>
                    <a:lnTo>
                      <a:pt x="229" y="135"/>
                    </a:lnTo>
                    <a:lnTo>
                      <a:pt x="230" y="134"/>
                    </a:lnTo>
                    <a:lnTo>
                      <a:pt x="230" y="132"/>
                    </a:lnTo>
                    <a:lnTo>
                      <a:pt x="232" y="132"/>
                    </a:lnTo>
                    <a:lnTo>
                      <a:pt x="232" y="131"/>
                    </a:lnTo>
                    <a:lnTo>
                      <a:pt x="232" y="130"/>
                    </a:lnTo>
                    <a:lnTo>
                      <a:pt x="232" y="129"/>
                    </a:lnTo>
                    <a:lnTo>
                      <a:pt x="232" y="128"/>
                    </a:lnTo>
                    <a:lnTo>
                      <a:pt x="232" y="126"/>
                    </a:lnTo>
                    <a:lnTo>
                      <a:pt x="233" y="126"/>
                    </a:lnTo>
                    <a:lnTo>
                      <a:pt x="233" y="125"/>
                    </a:lnTo>
                    <a:lnTo>
                      <a:pt x="234" y="125"/>
                    </a:lnTo>
                    <a:lnTo>
                      <a:pt x="234" y="124"/>
                    </a:lnTo>
                    <a:lnTo>
                      <a:pt x="235" y="124"/>
                    </a:lnTo>
                    <a:lnTo>
                      <a:pt x="235" y="123"/>
                    </a:lnTo>
                    <a:lnTo>
                      <a:pt x="235" y="122"/>
                    </a:lnTo>
                    <a:lnTo>
                      <a:pt x="236" y="122"/>
                    </a:lnTo>
                    <a:lnTo>
                      <a:pt x="236" y="120"/>
                    </a:lnTo>
                    <a:lnTo>
                      <a:pt x="238" y="120"/>
                    </a:lnTo>
                    <a:lnTo>
                      <a:pt x="238" y="119"/>
                    </a:lnTo>
                    <a:lnTo>
                      <a:pt x="239" y="119"/>
                    </a:lnTo>
                    <a:lnTo>
                      <a:pt x="241" y="119"/>
                    </a:lnTo>
                    <a:lnTo>
                      <a:pt x="242" y="118"/>
                    </a:lnTo>
                    <a:lnTo>
                      <a:pt x="244" y="118"/>
                    </a:lnTo>
                    <a:lnTo>
                      <a:pt x="245" y="118"/>
                    </a:lnTo>
                    <a:lnTo>
                      <a:pt x="246" y="118"/>
                    </a:lnTo>
                    <a:lnTo>
                      <a:pt x="247" y="118"/>
                    </a:lnTo>
                    <a:lnTo>
                      <a:pt x="247" y="117"/>
                    </a:lnTo>
                    <a:lnTo>
                      <a:pt x="248" y="117"/>
                    </a:lnTo>
                    <a:lnTo>
                      <a:pt x="250" y="117"/>
                    </a:lnTo>
                    <a:lnTo>
                      <a:pt x="250" y="118"/>
                    </a:lnTo>
                    <a:lnTo>
                      <a:pt x="251" y="118"/>
                    </a:lnTo>
                    <a:lnTo>
                      <a:pt x="251" y="117"/>
                    </a:lnTo>
                    <a:lnTo>
                      <a:pt x="250" y="117"/>
                    </a:lnTo>
                    <a:lnTo>
                      <a:pt x="250" y="116"/>
                    </a:lnTo>
                    <a:lnTo>
                      <a:pt x="250" y="114"/>
                    </a:lnTo>
                    <a:lnTo>
                      <a:pt x="248" y="111"/>
                    </a:lnTo>
                    <a:lnTo>
                      <a:pt x="248" y="106"/>
                    </a:lnTo>
                    <a:lnTo>
                      <a:pt x="247" y="100"/>
                    </a:lnTo>
                    <a:lnTo>
                      <a:pt x="246" y="98"/>
                    </a:lnTo>
                    <a:lnTo>
                      <a:pt x="244" y="93"/>
                    </a:lnTo>
                    <a:lnTo>
                      <a:pt x="241" y="93"/>
                    </a:lnTo>
                    <a:lnTo>
                      <a:pt x="239" y="94"/>
                    </a:lnTo>
                    <a:lnTo>
                      <a:pt x="238" y="95"/>
                    </a:lnTo>
                    <a:lnTo>
                      <a:pt x="236" y="95"/>
                    </a:lnTo>
                    <a:lnTo>
                      <a:pt x="236" y="96"/>
                    </a:lnTo>
                    <a:lnTo>
                      <a:pt x="235" y="98"/>
                    </a:lnTo>
                    <a:lnTo>
                      <a:pt x="234" y="98"/>
                    </a:lnTo>
                    <a:lnTo>
                      <a:pt x="233" y="99"/>
                    </a:lnTo>
                    <a:lnTo>
                      <a:pt x="232" y="100"/>
                    </a:lnTo>
                    <a:lnTo>
                      <a:pt x="230" y="100"/>
                    </a:lnTo>
                    <a:lnTo>
                      <a:pt x="228" y="100"/>
                    </a:lnTo>
                    <a:lnTo>
                      <a:pt x="224" y="101"/>
                    </a:lnTo>
                    <a:lnTo>
                      <a:pt x="223" y="101"/>
                    </a:lnTo>
                    <a:lnTo>
                      <a:pt x="222" y="102"/>
                    </a:lnTo>
                    <a:lnTo>
                      <a:pt x="221" y="102"/>
                    </a:lnTo>
                    <a:lnTo>
                      <a:pt x="220" y="102"/>
                    </a:lnTo>
                    <a:lnTo>
                      <a:pt x="218" y="102"/>
                    </a:lnTo>
                    <a:lnTo>
                      <a:pt x="218" y="104"/>
                    </a:lnTo>
                    <a:lnTo>
                      <a:pt x="217" y="104"/>
                    </a:lnTo>
                    <a:lnTo>
                      <a:pt x="216" y="104"/>
                    </a:lnTo>
                    <a:lnTo>
                      <a:pt x="215" y="105"/>
                    </a:lnTo>
                    <a:lnTo>
                      <a:pt x="214" y="105"/>
                    </a:lnTo>
                    <a:lnTo>
                      <a:pt x="214" y="106"/>
                    </a:lnTo>
                    <a:lnTo>
                      <a:pt x="212" y="106"/>
                    </a:lnTo>
                    <a:lnTo>
                      <a:pt x="211" y="107"/>
                    </a:lnTo>
                    <a:lnTo>
                      <a:pt x="210" y="107"/>
                    </a:lnTo>
                    <a:lnTo>
                      <a:pt x="210" y="108"/>
                    </a:lnTo>
                    <a:lnTo>
                      <a:pt x="209" y="110"/>
                    </a:lnTo>
                    <a:lnTo>
                      <a:pt x="208" y="110"/>
                    </a:lnTo>
                    <a:lnTo>
                      <a:pt x="208" y="108"/>
                    </a:lnTo>
                    <a:lnTo>
                      <a:pt x="206" y="108"/>
                    </a:lnTo>
                    <a:lnTo>
                      <a:pt x="205" y="108"/>
                    </a:lnTo>
                    <a:lnTo>
                      <a:pt x="204" y="108"/>
                    </a:lnTo>
                    <a:lnTo>
                      <a:pt x="203" y="110"/>
                    </a:lnTo>
                    <a:lnTo>
                      <a:pt x="202" y="110"/>
                    </a:lnTo>
                    <a:lnTo>
                      <a:pt x="200" y="110"/>
                    </a:lnTo>
                    <a:lnTo>
                      <a:pt x="200" y="108"/>
                    </a:lnTo>
                    <a:lnTo>
                      <a:pt x="200" y="107"/>
                    </a:lnTo>
                    <a:lnTo>
                      <a:pt x="200" y="106"/>
                    </a:lnTo>
                    <a:lnTo>
                      <a:pt x="200" y="105"/>
                    </a:lnTo>
                    <a:lnTo>
                      <a:pt x="200" y="104"/>
                    </a:lnTo>
                    <a:lnTo>
                      <a:pt x="202" y="102"/>
                    </a:lnTo>
                    <a:lnTo>
                      <a:pt x="202" y="101"/>
                    </a:lnTo>
                    <a:lnTo>
                      <a:pt x="202" y="100"/>
                    </a:lnTo>
                    <a:lnTo>
                      <a:pt x="202" y="99"/>
                    </a:lnTo>
                    <a:lnTo>
                      <a:pt x="200" y="99"/>
                    </a:lnTo>
                    <a:lnTo>
                      <a:pt x="200" y="98"/>
                    </a:lnTo>
                    <a:lnTo>
                      <a:pt x="200" y="96"/>
                    </a:lnTo>
                    <a:lnTo>
                      <a:pt x="200" y="95"/>
                    </a:lnTo>
                    <a:lnTo>
                      <a:pt x="202" y="95"/>
                    </a:lnTo>
                    <a:lnTo>
                      <a:pt x="202" y="94"/>
                    </a:lnTo>
                    <a:lnTo>
                      <a:pt x="202" y="93"/>
                    </a:lnTo>
                    <a:lnTo>
                      <a:pt x="203" y="92"/>
                    </a:lnTo>
                    <a:lnTo>
                      <a:pt x="204" y="90"/>
                    </a:lnTo>
                    <a:lnTo>
                      <a:pt x="205" y="89"/>
                    </a:lnTo>
                    <a:lnTo>
                      <a:pt x="205" y="88"/>
                    </a:lnTo>
                    <a:lnTo>
                      <a:pt x="205" y="89"/>
                    </a:lnTo>
                    <a:lnTo>
                      <a:pt x="205" y="88"/>
                    </a:lnTo>
                    <a:lnTo>
                      <a:pt x="206" y="88"/>
                    </a:lnTo>
                    <a:lnTo>
                      <a:pt x="206" y="86"/>
                    </a:lnTo>
                    <a:lnTo>
                      <a:pt x="208" y="86"/>
                    </a:lnTo>
                    <a:lnTo>
                      <a:pt x="208" y="84"/>
                    </a:lnTo>
                    <a:lnTo>
                      <a:pt x="208" y="83"/>
                    </a:lnTo>
                    <a:lnTo>
                      <a:pt x="209" y="83"/>
                    </a:lnTo>
                    <a:lnTo>
                      <a:pt x="209" y="82"/>
                    </a:lnTo>
                    <a:lnTo>
                      <a:pt x="209" y="81"/>
                    </a:lnTo>
                    <a:lnTo>
                      <a:pt x="209" y="80"/>
                    </a:lnTo>
                    <a:lnTo>
                      <a:pt x="209" y="78"/>
                    </a:lnTo>
                    <a:lnTo>
                      <a:pt x="209" y="77"/>
                    </a:lnTo>
                    <a:lnTo>
                      <a:pt x="209" y="76"/>
                    </a:lnTo>
                    <a:lnTo>
                      <a:pt x="210" y="75"/>
                    </a:lnTo>
                    <a:lnTo>
                      <a:pt x="210" y="74"/>
                    </a:lnTo>
                    <a:lnTo>
                      <a:pt x="210" y="72"/>
                    </a:lnTo>
                    <a:lnTo>
                      <a:pt x="210" y="71"/>
                    </a:lnTo>
                    <a:lnTo>
                      <a:pt x="211" y="70"/>
                    </a:lnTo>
                    <a:lnTo>
                      <a:pt x="211" y="69"/>
                    </a:lnTo>
                    <a:lnTo>
                      <a:pt x="211" y="68"/>
                    </a:lnTo>
                    <a:lnTo>
                      <a:pt x="211" y="66"/>
                    </a:lnTo>
                    <a:lnTo>
                      <a:pt x="211" y="65"/>
                    </a:lnTo>
                    <a:lnTo>
                      <a:pt x="211" y="64"/>
                    </a:lnTo>
                    <a:lnTo>
                      <a:pt x="210" y="63"/>
                    </a:lnTo>
                    <a:lnTo>
                      <a:pt x="210" y="62"/>
                    </a:lnTo>
                    <a:lnTo>
                      <a:pt x="208" y="62"/>
                    </a:lnTo>
                    <a:lnTo>
                      <a:pt x="206" y="62"/>
                    </a:lnTo>
                    <a:lnTo>
                      <a:pt x="205" y="60"/>
                    </a:lnTo>
                    <a:lnTo>
                      <a:pt x="204" y="62"/>
                    </a:lnTo>
                    <a:lnTo>
                      <a:pt x="203" y="62"/>
                    </a:lnTo>
                    <a:lnTo>
                      <a:pt x="203" y="60"/>
                    </a:lnTo>
                    <a:lnTo>
                      <a:pt x="203" y="59"/>
                    </a:lnTo>
                    <a:lnTo>
                      <a:pt x="203" y="58"/>
                    </a:lnTo>
                    <a:lnTo>
                      <a:pt x="204" y="57"/>
                    </a:lnTo>
                    <a:lnTo>
                      <a:pt x="204" y="56"/>
                    </a:lnTo>
                    <a:lnTo>
                      <a:pt x="206" y="54"/>
                    </a:lnTo>
                    <a:lnTo>
                      <a:pt x="208" y="53"/>
                    </a:lnTo>
                    <a:lnTo>
                      <a:pt x="208" y="51"/>
                    </a:lnTo>
                    <a:lnTo>
                      <a:pt x="208" y="50"/>
                    </a:lnTo>
                    <a:lnTo>
                      <a:pt x="208" y="48"/>
                    </a:lnTo>
                    <a:lnTo>
                      <a:pt x="206" y="46"/>
                    </a:lnTo>
                    <a:lnTo>
                      <a:pt x="206" y="45"/>
                    </a:lnTo>
                    <a:lnTo>
                      <a:pt x="205" y="45"/>
                    </a:lnTo>
                    <a:lnTo>
                      <a:pt x="204" y="42"/>
                    </a:lnTo>
                    <a:lnTo>
                      <a:pt x="202" y="44"/>
                    </a:lnTo>
                    <a:lnTo>
                      <a:pt x="200" y="44"/>
                    </a:lnTo>
                    <a:lnTo>
                      <a:pt x="199" y="44"/>
                    </a:lnTo>
                    <a:lnTo>
                      <a:pt x="198" y="44"/>
                    </a:lnTo>
                    <a:lnTo>
                      <a:pt x="197" y="42"/>
                    </a:lnTo>
                    <a:lnTo>
                      <a:pt x="197" y="41"/>
                    </a:lnTo>
                    <a:lnTo>
                      <a:pt x="197" y="40"/>
                    </a:lnTo>
                    <a:lnTo>
                      <a:pt x="196" y="40"/>
                    </a:lnTo>
                    <a:lnTo>
                      <a:pt x="196" y="39"/>
                    </a:lnTo>
                    <a:lnTo>
                      <a:pt x="196" y="38"/>
                    </a:lnTo>
                    <a:lnTo>
                      <a:pt x="196" y="36"/>
                    </a:lnTo>
                    <a:lnTo>
                      <a:pt x="196" y="35"/>
                    </a:lnTo>
                    <a:lnTo>
                      <a:pt x="196" y="34"/>
                    </a:lnTo>
                    <a:lnTo>
                      <a:pt x="196" y="33"/>
                    </a:lnTo>
                    <a:lnTo>
                      <a:pt x="194" y="33"/>
                    </a:lnTo>
                    <a:lnTo>
                      <a:pt x="196" y="32"/>
                    </a:lnTo>
                    <a:lnTo>
                      <a:pt x="196" y="30"/>
                    </a:lnTo>
                    <a:lnTo>
                      <a:pt x="197" y="30"/>
                    </a:lnTo>
                    <a:lnTo>
                      <a:pt x="197" y="29"/>
                    </a:lnTo>
                    <a:lnTo>
                      <a:pt x="197" y="28"/>
                    </a:lnTo>
                    <a:lnTo>
                      <a:pt x="196" y="28"/>
                    </a:lnTo>
                    <a:lnTo>
                      <a:pt x="197" y="28"/>
                    </a:lnTo>
                    <a:lnTo>
                      <a:pt x="197" y="27"/>
                    </a:lnTo>
                    <a:lnTo>
                      <a:pt x="197" y="26"/>
                    </a:lnTo>
                    <a:lnTo>
                      <a:pt x="197" y="24"/>
                    </a:lnTo>
                    <a:lnTo>
                      <a:pt x="197" y="23"/>
                    </a:lnTo>
                    <a:lnTo>
                      <a:pt x="197" y="24"/>
                    </a:lnTo>
                    <a:lnTo>
                      <a:pt x="197" y="23"/>
                    </a:lnTo>
                    <a:lnTo>
                      <a:pt x="196" y="22"/>
                    </a:lnTo>
                    <a:lnTo>
                      <a:pt x="194" y="20"/>
                    </a:lnTo>
                    <a:lnTo>
                      <a:pt x="194" y="18"/>
                    </a:lnTo>
                    <a:lnTo>
                      <a:pt x="194" y="17"/>
                    </a:lnTo>
                    <a:lnTo>
                      <a:pt x="196" y="16"/>
                    </a:lnTo>
                    <a:lnTo>
                      <a:pt x="197" y="15"/>
                    </a:lnTo>
                    <a:lnTo>
                      <a:pt x="197" y="14"/>
                    </a:lnTo>
                    <a:lnTo>
                      <a:pt x="198" y="12"/>
                    </a:lnTo>
                    <a:lnTo>
                      <a:pt x="197" y="10"/>
                    </a:lnTo>
                    <a:lnTo>
                      <a:pt x="196" y="10"/>
                    </a:lnTo>
                    <a:lnTo>
                      <a:pt x="194" y="9"/>
                    </a:lnTo>
                    <a:lnTo>
                      <a:pt x="192" y="9"/>
                    </a:lnTo>
                    <a:lnTo>
                      <a:pt x="192" y="8"/>
                    </a:lnTo>
                    <a:lnTo>
                      <a:pt x="191" y="6"/>
                    </a:lnTo>
                    <a:lnTo>
                      <a:pt x="191" y="5"/>
                    </a:lnTo>
                    <a:lnTo>
                      <a:pt x="190" y="4"/>
                    </a:lnTo>
                    <a:lnTo>
                      <a:pt x="188" y="4"/>
                    </a:lnTo>
                    <a:lnTo>
                      <a:pt x="186" y="5"/>
                    </a:lnTo>
                    <a:lnTo>
                      <a:pt x="185" y="5"/>
                    </a:lnTo>
                    <a:lnTo>
                      <a:pt x="185" y="6"/>
                    </a:lnTo>
                    <a:lnTo>
                      <a:pt x="184" y="6"/>
                    </a:lnTo>
                    <a:lnTo>
                      <a:pt x="182" y="6"/>
                    </a:lnTo>
                    <a:lnTo>
                      <a:pt x="181" y="5"/>
                    </a:lnTo>
                    <a:lnTo>
                      <a:pt x="180" y="6"/>
                    </a:lnTo>
                    <a:lnTo>
                      <a:pt x="179" y="5"/>
                    </a:lnTo>
                    <a:lnTo>
                      <a:pt x="178" y="5"/>
                    </a:lnTo>
                    <a:lnTo>
                      <a:pt x="178" y="6"/>
                    </a:lnTo>
                    <a:lnTo>
                      <a:pt x="176" y="8"/>
                    </a:lnTo>
                    <a:lnTo>
                      <a:pt x="176" y="9"/>
                    </a:lnTo>
                    <a:lnTo>
                      <a:pt x="175" y="10"/>
                    </a:lnTo>
                    <a:lnTo>
                      <a:pt x="174" y="10"/>
                    </a:lnTo>
                    <a:lnTo>
                      <a:pt x="172" y="11"/>
                    </a:lnTo>
                    <a:lnTo>
                      <a:pt x="172" y="12"/>
                    </a:lnTo>
                    <a:lnTo>
                      <a:pt x="170" y="11"/>
                    </a:lnTo>
                    <a:lnTo>
                      <a:pt x="170" y="9"/>
                    </a:lnTo>
                    <a:lnTo>
                      <a:pt x="170" y="6"/>
                    </a:lnTo>
                    <a:lnTo>
                      <a:pt x="169" y="8"/>
                    </a:lnTo>
                    <a:lnTo>
                      <a:pt x="168" y="8"/>
                    </a:lnTo>
                    <a:lnTo>
                      <a:pt x="167" y="6"/>
                    </a:lnTo>
                    <a:lnTo>
                      <a:pt x="167" y="5"/>
                    </a:lnTo>
                    <a:lnTo>
                      <a:pt x="166" y="5"/>
                    </a:lnTo>
                    <a:lnTo>
                      <a:pt x="164" y="5"/>
                    </a:lnTo>
                    <a:lnTo>
                      <a:pt x="164" y="6"/>
                    </a:lnTo>
                    <a:lnTo>
                      <a:pt x="162" y="8"/>
                    </a:lnTo>
                    <a:lnTo>
                      <a:pt x="161" y="8"/>
                    </a:lnTo>
                    <a:lnTo>
                      <a:pt x="160" y="8"/>
                    </a:lnTo>
                    <a:lnTo>
                      <a:pt x="158" y="6"/>
                    </a:lnTo>
                    <a:lnTo>
                      <a:pt x="158" y="5"/>
                    </a:lnTo>
                    <a:lnTo>
                      <a:pt x="158" y="3"/>
                    </a:lnTo>
                    <a:lnTo>
                      <a:pt x="157" y="2"/>
                    </a:lnTo>
                    <a:lnTo>
                      <a:pt x="156" y="2"/>
                    </a:lnTo>
                    <a:lnTo>
                      <a:pt x="155" y="2"/>
                    </a:lnTo>
                    <a:lnTo>
                      <a:pt x="154" y="2"/>
                    </a:lnTo>
                    <a:lnTo>
                      <a:pt x="152" y="2"/>
                    </a:lnTo>
                    <a:lnTo>
                      <a:pt x="151" y="0"/>
                    </a:lnTo>
                    <a:lnTo>
                      <a:pt x="150" y="0"/>
                    </a:lnTo>
                    <a:lnTo>
                      <a:pt x="149" y="3"/>
                    </a:lnTo>
                    <a:lnTo>
                      <a:pt x="149" y="4"/>
                    </a:lnTo>
                    <a:lnTo>
                      <a:pt x="148" y="5"/>
                    </a:lnTo>
                    <a:lnTo>
                      <a:pt x="146" y="5"/>
                    </a:lnTo>
                    <a:lnTo>
                      <a:pt x="146" y="6"/>
                    </a:lnTo>
                    <a:lnTo>
                      <a:pt x="145" y="6"/>
                    </a:lnTo>
                    <a:lnTo>
                      <a:pt x="145" y="8"/>
                    </a:lnTo>
                    <a:lnTo>
                      <a:pt x="145" y="9"/>
                    </a:lnTo>
                    <a:lnTo>
                      <a:pt x="145" y="10"/>
                    </a:lnTo>
                    <a:lnTo>
                      <a:pt x="145" y="11"/>
                    </a:lnTo>
                    <a:lnTo>
                      <a:pt x="145" y="12"/>
                    </a:lnTo>
                    <a:lnTo>
                      <a:pt x="145" y="14"/>
                    </a:lnTo>
                    <a:lnTo>
                      <a:pt x="144" y="14"/>
                    </a:lnTo>
                    <a:lnTo>
                      <a:pt x="144" y="15"/>
                    </a:lnTo>
                    <a:lnTo>
                      <a:pt x="143" y="15"/>
                    </a:lnTo>
                    <a:lnTo>
                      <a:pt x="142" y="15"/>
                    </a:lnTo>
                    <a:lnTo>
                      <a:pt x="140" y="15"/>
                    </a:lnTo>
                    <a:lnTo>
                      <a:pt x="139" y="15"/>
                    </a:lnTo>
                    <a:lnTo>
                      <a:pt x="138" y="15"/>
                    </a:lnTo>
                    <a:lnTo>
                      <a:pt x="138" y="16"/>
                    </a:lnTo>
                    <a:lnTo>
                      <a:pt x="137" y="16"/>
                    </a:lnTo>
                    <a:lnTo>
                      <a:pt x="136" y="16"/>
                    </a:lnTo>
                    <a:lnTo>
                      <a:pt x="136" y="17"/>
                    </a:lnTo>
                    <a:lnTo>
                      <a:pt x="136" y="18"/>
                    </a:lnTo>
                    <a:lnTo>
                      <a:pt x="136" y="20"/>
                    </a:lnTo>
                    <a:lnTo>
                      <a:pt x="136" y="21"/>
                    </a:lnTo>
                    <a:lnTo>
                      <a:pt x="137" y="22"/>
                    </a:lnTo>
                    <a:lnTo>
                      <a:pt x="137" y="23"/>
                    </a:lnTo>
                    <a:lnTo>
                      <a:pt x="137" y="24"/>
                    </a:lnTo>
                    <a:lnTo>
                      <a:pt x="137" y="26"/>
                    </a:lnTo>
                    <a:lnTo>
                      <a:pt x="137" y="27"/>
                    </a:lnTo>
                    <a:lnTo>
                      <a:pt x="136" y="27"/>
                    </a:lnTo>
                    <a:lnTo>
                      <a:pt x="136" y="28"/>
                    </a:lnTo>
                    <a:lnTo>
                      <a:pt x="136" y="29"/>
                    </a:lnTo>
                    <a:lnTo>
                      <a:pt x="134" y="29"/>
                    </a:lnTo>
                    <a:lnTo>
                      <a:pt x="133" y="29"/>
                    </a:lnTo>
                    <a:lnTo>
                      <a:pt x="133" y="30"/>
                    </a:lnTo>
                    <a:lnTo>
                      <a:pt x="132" y="30"/>
                    </a:lnTo>
                    <a:lnTo>
                      <a:pt x="132" y="32"/>
                    </a:lnTo>
                    <a:lnTo>
                      <a:pt x="131" y="33"/>
                    </a:lnTo>
                    <a:lnTo>
                      <a:pt x="131" y="34"/>
                    </a:lnTo>
                    <a:lnTo>
                      <a:pt x="130" y="34"/>
                    </a:lnTo>
                    <a:lnTo>
                      <a:pt x="130" y="35"/>
                    </a:lnTo>
                    <a:lnTo>
                      <a:pt x="128" y="35"/>
                    </a:lnTo>
                    <a:lnTo>
                      <a:pt x="128" y="36"/>
                    </a:lnTo>
                    <a:lnTo>
                      <a:pt x="128" y="38"/>
                    </a:lnTo>
                    <a:lnTo>
                      <a:pt x="128" y="39"/>
                    </a:lnTo>
                    <a:lnTo>
                      <a:pt x="130" y="39"/>
                    </a:lnTo>
                    <a:lnTo>
                      <a:pt x="130" y="40"/>
                    </a:lnTo>
                    <a:lnTo>
                      <a:pt x="131" y="41"/>
                    </a:lnTo>
                    <a:lnTo>
                      <a:pt x="131" y="42"/>
                    </a:lnTo>
                    <a:lnTo>
                      <a:pt x="131" y="44"/>
                    </a:lnTo>
                    <a:lnTo>
                      <a:pt x="131" y="45"/>
                    </a:lnTo>
                    <a:lnTo>
                      <a:pt x="131" y="46"/>
                    </a:lnTo>
                    <a:lnTo>
                      <a:pt x="131" y="47"/>
                    </a:lnTo>
                    <a:lnTo>
                      <a:pt x="131" y="48"/>
                    </a:lnTo>
                    <a:lnTo>
                      <a:pt x="132" y="48"/>
                    </a:lnTo>
                    <a:lnTo>
                      <a:pt x="132" y="50"/>
                    </a:lnTo>
                    <a:lnTo>
                      <a:pt x="131" y="50"/>
                    </a:lnTo>
                    <a:lnTo>
                      <a:pt x="131" y="51"/>
                    </a:lnTo>
                    <a:lnTo>
                      <a:pt x="130" y="51"/>
                    </a:lnTo>
                    <a:lnTo>
                      <a:pt x="128" y="52"/>
                    </a:lnTo>
                    <a:lnTo>
                      <a:pt x="127" y="52"/>
                    </a:lnTo>
                    <a:lnTo>
                      <a:pt x="126" y="53"/>
                    </a:lnTo>
                    <a:lnTo>
                      <a:pt x="125" y="53"/>
                    </a:lnTo>
                    <a:lnTo>
                      <a:pt x="125" y="54"/>
                    </a:lnTo>
                    <a:lnTo>
                      <a:pt x="124" y="54"/>
                    </a:lnTo>
                    <a:lnTo>
                      <a:pt x="122" y="54"/>
                    </a:lnTo>
                    <a:lnTo>
                      <a:pt x="120" y="54"/>
                    </a:lnTo>
                    <a:lnTo>
                      <a:pt x="118" y="53"/>
                    </a:lnTo>
                    <a:lnTo>
                      <a:pt x="119" y="52"/>
                    </a:lnTo>
                    <a:lnTo>
                      <a:pt x="119" y="51"/>
                    </a:lnTo>
                    <a:lnTo>
                      <a:pt x="119" y="48"/>
                    </a:lnTo>
                    <a:lnTo>
                      <a:pt x="118" y="47"/>
                    </a:lnTo>
                    <a:lnTo>
                      <a:pt x="118" y="46"/>
                    </a:lnTo>
                    <a:lnTo>
                      <a:pt x="116" y="44"/>
                    </a:lnTo>
                    <a:lnTo>
                      <a:pt x="116" y="42"/>
                    </a:lnTo>
                    <a:lnTo>
                      <a:pt x="116" y="41"/>
                    </a:lnTo>
                    <a:lnTo>
                      <a:pt x="116" y="40"/>
                    </a:lnTo>
                    <a:lnTo>
                      <a:pt x="115" y="40"/>
                    </a:lnTo>
                    <a:lnTo>
                      <a:pt x="115" y="39"/>
                    </a:lnTo>
                    <a:lnTo>
                      <a:pt x="115" y="38"/>
                    </a:lnTo>
                    <a:lnTo>
                      <a:pt x="114" y="38"/>
                    </a:lnTo>
                    <a:lnTo>
                      <a:pt x="113" y="36"/>
                    </a:lnTo>
                    <a:lnTo>
                      <a:pt x="112" y="35"/>
                    </a:lnTo>
                    <a:lnTo>
                      <a:pt x="110" y="35"/>
                    </a:lnTo>
                    <a:lnTo>
                      <a:pt x="109" y="34"/>
                    </a:lnTo>
                    <a:lnTo>
                      <a:pt x="108" y="33"/>
                    </a:lnTo>
                    <a:lnTo>
                      <a:pt x="107" y="34"/>
                    </a:lnTo>
                    <a:lnTo>
                      <a:pt x="106" y="34"/>
                    </a:lnTo>
                    <a:lnTo>
                      <a:pt x="104" y="34"/>
                    </a:lnTo>
                    <a:lnTo>
                      <a:pt x="104" y="35"/>
                    </a:lnTo>
                    <a:lnTo>
                      <a:pt x="103" y="36"/>
                    </a:lnTo>
                    <a:lnTo>
                      <a:pt x="103" y="38"/>
                    </a:lnTo>
                    <a:lnTo>
                      <a:pt x="102" y="38"/>
                    </a:lnTo>
                    <a:lnTo>
                      <a:pt x="101" y="39"/>
                    </a:lnTo>
                    <a:lnTo>
                      <a:pt x="100" y="39"/>
                    </a:lnTo>
                    <a:lnTo>
                      <a:pt x="98" y="39"/>
                    </a:lnTo>
                    <a:lnTo>
                      <a:pt x="98" y="40"/>
                    </a:lnTo>
                    <a:lnTo>
                      <a:pt x="97" y="40"/>
                    </a:lnTo>
                    <a:lnTo>
                      <a:pt x="96" y="41"/>
                    </a:lnTo>
                    <a:lnTo>
                      <a:pt x="95" y="42"/>
                    </a:lnTo>
                    <a:lnTo>
                      <a:pt x="91" y="44"/>
                    </a:lnTo>
                    <a:lnTo>
                      <a:pt x="90" y="44"/>
                    </a:lnTo>
                    <a:lnTo>
                      <a:pt x="89" y="44"/>
                    </a:lnTo>
                    <a:lnTo>
                      <a:pt x="89" y="42"/>
                    </a:lnTo>
                    <a:lnTo>
                      <a:pt x="88" y="42"/>
                    </a:lnTo>
                    <a:lnTo>
                      <a:pt x="88" y="41"/>
                    </a:lnTo>
                    <a:lnTo>
                      <a:pt x="85" y="40"/>
                    </a:lnTo>
                    <a:lnTo>
                      <a:pt x="85" y="41"/>
                    </a:lnTo>
                    <a:lnTo>
                      <a:pt x="86" y="42"/>
                    </a:lnTo>
                    <a:lnTo>
                      <a:pt x="86" y="44"/>
                    </a:lnTo>
                    <a:lnTo>
                      <a:pt x="88" y="44"/>
                    </a:lnTo>
                    <a:lnTo>
                      <a:pt x="88" y="45"/>
                    </a:lnTo>
                    <a:lnTo>
                      <a:pt x="88" y="46"/>
                    </a:lnTo>
                    <a:lnTo>
                      <a:pt x="88" y="47"/>
                    </a:lnTo>
                    <a:lnTo>
                      <a:pt x="88" y="48"/>
                    </a:lnTo>
                    <a:lnTo>
                      <a:pt x="85" y="53"/>
                    </a:lnTo>
                    <a:lnTo>
                      <a:pt x="85" y="54"/>
                    </a:lnTo>
                    <a:lnTo>
                      <a:pt x="85" y="53"/>
                    </a:lnTo>
                    <a:lnTo>
                      <a:pt x="85" y="54"/>
                    </a:lnTo>
                    <a:lnTo>
                      <a:pt x="85" y="56"/>
                    </a:lnTo>
                    <a:lnTo>
                      <a:pt x="86" y="57"/>
                    </a:lnTo>
                    <a:lnTo>
                      <a:pt x="85" y="58"/>
                    </a:lnTo>
                    <a:lnTo>
                      <a:pt x="85" y="59"/>
                    </a:lnTo>
                    <a:lnTo>
                      <a:pt x="85" y="60"/>
                    </a:lnTo>
                    <a:lnTo>
                      <a:pt x="84" y="62"/>
                    </a:lnTo>
                    <a:lnTo>
                      <a:pt x="84" y="63"/>
                    </a:lnTo>
                    <a:lnTo>
                      <a:pt x="83" y="63"/>
                    </a:lnTo>
                    <a:lnTo>
                      <a:pt x="83" y="64"/>
                    </a:lnTo>
                    <a:lnTo>
                      <a:pt x="83" y="65"/>
                    </a:lnTo>
                    <a:lnTo>
                      <a:pt x="83" y="66"/>
                    </a:lnTo>
                    <a:lnTo>
                      <a:pt x="82" y="66"/>
                    </a:lnTo>
                    <a:lnTo>
                      <a:pt x="83" y="68"/>
                    </a:lnTo>
                    <a:lnTo>
                      <a:pt x="83" y="69"/>
                    </a:lnTo>
                    <a:lnTo>
                      <a:pt x="83" y="70"/>
                    </a:lnTo>
                    <a:lnTo>
                      <a:pt x="83" y="71"/>
                    </a:lnTo>
                    <a:lnTo>
                      <a:pt x="83" y="72"/>
                    </a:lnTo>
                    <a:lnTo>
                      <a:pt x="83" y="74"/>
                    </a:lnTo>
                    <a:lnTo>
                      <a:pt x="82" y="74"/>
                    </a:lnTo>
                    <a:lnTo>
                      <a:pt x="83" y="74"/>
                    </a:lnTo>
                    <a:lnTo>
                      <a:pt x="82" y="75"/>
                    </a:lnTo>
                    <a:lnTo>
                      <a:pt x="82" y="76"/>
                    </a:lnTo>
                    <a:lnTo>
                      <a:pt x="83" y="77"/>
                    </a:lnTo>
                    <a:lnTo>
                      <a:pt x="83" y="78"/>
                    </a:lnTo>
                    <a:lnTo>
                      <a:pt x="83" y="80"/>
                    </a:lnTo>
                    <a:lnTo>
                      <a:pt x="82" y="80"/>
                    </a:lnTo>
                    <a:lnTo>
                      <a:pt x="82" y="81"/>
                    </a:lnTo>
                    <a:lnTo>
                      <a:pt x="80" y="82"/>
                    </a:lnTo>
                    <a:lnTo>
                      <a:pt x="80" y="83"/>
                    </a:lnTo>
                    <a:lnTo>
                      <a:pt x="80" y="84"/>
                    </a:lnTo>
                    <a:lnTo>
                      <a:pt x="79" y="84"/>
                    </a:lnTo>
                    <a:lnTo>
                      <a:pt x="78" y="84"/>
                    </a:lnTo>
                    <a:lnTo>
                      <a:pt x="77" y="86"/>
                    </a:lnTo>
                    <a:lnTo>
                      <a:pt x="76" y="86"/>
                    </a:lnTo>
                    <a:lnTo>
                      <a:pt x="74" y="84"/>
                    </a:lnTo>
                    <a:lnTo>
                      <a:pt x="73" y="84"/>
                    </a:lnTo>
                    <a:lnTo>
                      <a:pt x="73" y="83"/>
                    </a:lnTo>
                    <a:lnTo>
                      <a:pt x="73" y="82"/>
                    </a:lnTo>
                    <a:lnTo>
                      <a:pt x="72" y="82"/>
                    </a:lnTo>
                    <a:lnTo>
                      <a:pt x="71" y="83"/>
                    </a:lnTo>
                    <a:lnTo>
                      <a:pt x="70" y="84"/>
                    </a:lnTo>
                    <a:lnTo>
                      <a:pt x="70" y="86"/>
                    </a:lnTo>
                    <a:lnTo>
                      <a:pt x="68" y="87"/>
                    </a:lnTo>
                    <a:lnTo>
                      <a:pt x="68" y="88"/>
                    </a:lnTo>
                    <a:lnTo>
                      <a:pt x="68" y="89"/>
                    </a:lnTo>
                    <a:lnTo>
                      <a:pt x="67" y="92"/>
                    </a:lnTo>
                    <a:lnTo>
                      <a:pt x="62" y="94"/>
                    </a:lnTo>
                    <a:lnTo>
                      <a:pt x="60" y="95"/>
                    </a:lnTo>
                    <a:lnTo>
                      <a:pt x="56" y="96"/>
                    </a:lnTo>
                    <a:lnTo>
                      <a:pt x="55" y="96"/>
                    </a:lnTo>
                    <a:lnTo>
                      <a:pt x="54" y="96"/>
                    </a:lnTo>
                    <a:lnTo>
                      <a:pt x="52" y="95"/>
                    </a:lnTo>
                    <a:lnTo>
                      <a:pt x="48" y="94"/>
                    </a:lnTo>
                    <a:lnTo>
                      <a:pt x="44" y="90"/>
                    </a:lnTo>
                    <a:lnTo>
                      <a:pt x="41" y="87"/>
                    </a:lnTo>
                    <a:lnTo>
                      <a:pt x="38" y="83"/>
                    </a:lnTo>
                    <a:lnTo>
                      <a:pt x="35" y="83"/>
                    </a:lnTo>
                    <a:lnTo>
                      <a:pt x="23" y="72"/>
                    </a:lnTo>
                    <a:lnTo>
                      <a:pt x="20" y="75"/>
                    </a:lnTo>
                    <a:lnTo>
                      <a:pt x="20" y="77"/>
                    </a:lnTo>
                    <a:lnTo>
                      <a:pt x="19" y="78"/>
                    </a:lnTo>
                    <a:lnTo>
                      <a:pt x="19" y="81"/>
                    </a:lnTo>
                    <a:lnTo>
                      <a:pt x="20" y="82"/>
                    </a:lnTo>
                    <a:lnTo>
                      <a:pt x="22" y="84"/>
                    </a:lnTo>
                    <a:lnTo>
                      <a:pt x="22" y="86"/>
                    </a:lnTo>
                    <a:lnTo>
                      <a:pt x="20" y="86"/>
                    </a:lnTo>
                    <a:lnTo>
                      <a:pt x="20" y="87"/>
                    </a:lnTo>
                    <a:lnTo>
                      <a:pt x="19" y="88"/>
                    </a:lnTo>
                    <a:lnTo>
                      <a:pt x="17" y="90"/>
                    </a:lnTo>
                    <a:lnTo>
                      <a:pt x="17" y="92"/>
                    </a:lnTo>
                    <a:lnTo>
                      <a:pt x="16" y="90"/>
                    </a:lnTo>
                    <a:lnTo>
                      <a:pt x="16" y="92"/>
                    </a:lnTo>
                    <a:lnTo>
                      <a:pt x="16" y="94"/>
                    </a:lnTo>
                    <a:lnTo>
                      <a:pt x="13" y="95"/>
                    </a:lnTo>
                    <a:lnTo>
                      <a:pt x="11" y="96"/>
                    </a:lnTo>
                    <a:lnTo>
                      <a:pt x="10" y="96"/>
                    </a:lnTo>
                    <a:lnTo>
                      <a:pt x="10" y="98"/>
                    </a:lnTo>
                    <a:lnTo>
                      <a:pt x="10" y="99"/>
                    </a:lnTo>
                    <a:lnTo>
                      <a:pt x="8" y="100"/>
                    </a:lnTo>
                    <a:lnTo>
                      <a:pt x="7" y="101"/>
                    </a:lnTo>
                    <a:lnTo>
                      <a:pt x="6" y="100"/>
                    </a:lnTo>
                    <a:lnTo>
                      <a:pt x="6" y="101"/>
                    </a:lnTo>
                    <a:lnTo>
                      <a:pt x="7" y="104"/>
                    </a:lnTo>
                    <a:lnTo>
                      <a:pt x="7" y="105"/>
                    </a:lnTo>
                    <a:lnTo>
                      <a:pt x="5" y="107"/>
                    </a:lnTo>
                    <a:lnTo>
                      <a:pt x="4" y="108"/>
                    </a:lnTo>
                    <a:lnTo>
                      <a:pt x="1" y="110"/>
                    </a:lnTo>
                    <a:lnTo>
                      <a:pt x="0" y="111"/>
                    </a:lnTo>
                    <a:lnTo>
                      <a:pt x="1" y="112"/>
                    </a:lnTo>
                    <a:lnTo>
                      <a:pt x="2" y="113"/>
                    </a:lnTo>
                    <a:lnTo>
                      <a:pt x="4" y="114"/>
                    </a:lnTo>
                    <a:lnTo>
                      <a:pt x="5" y="116"/>
                    </a:lnTo>
                    <a:lnTo>
                      <a:pt x="7" y="117"/>
                    </a:lnTo>
                    <a:lnTo>
                      <a:pt x="10" y="118"/>
                    </a:lnTo>
                    <a:lnTo>
                      <a:pt x="11" y="118"/>
                    </a:lnTo>
                    <a:lnTo>
                      <a:pt x="13" y="118"/>
                    </a:lnTo>
                    <a:lnTo>
                      <a:pt x="14" y="118"/>
                    </a:lnTo>
                    <a:lnTo>
                      <a:pt x="16" y="119"/>
                    </a:lnTo>
                    <a:lnTo>
                      <a:pt x="17" y="120"/>
                    </a:lnTo>
                    <a:lnTo>
                      <a:pt x="18" y="123"/>
                    </a:lnTo>
                    <a:lnTo>
                      <a:pt x="18" y="124"/>
                    </a:lnTo>
                    <a:lnTo>
                      <a:pt x="19" y="125"/>
                    </a:lnTo>
                    <a:lnTo>
                      <a:pt x="19" y="124"/>
                    </a:lnTo>
                    <a:lnTo>
                      <a:pt x="20" y="124"/>
                    </a:lnTo>
                    <a:lnTo>
                      <a:pt x="20" y="123"/>
                    </a:lnTo>
                    <a:lnTo>
                      <a:pt x="22" y="122"/>
                    </a:lnTo>
                    <a:lnTo>
                      <a:pt x="22" y="120"/>
                    </a:lnTo>
                    <a:lnTo>
                      <a:pt x="23" y="120"/>
                    </a:lnTo>
                    <a:lnTo>
                      <a:pt x="24" y="120"/>
                    </a:lnTo>
                    <a:lnTo>
                      <a:pt x="26" y="120"/>
                    </a:lnTo>
                    <a:lnTo>
                      <a:pt x="26" y="122"/>
                    </a:lnTo>
                    <a:lnTo>
                      <a:pt x="28" y="122"/>
                    </a:lnTo>
                    <a:lnTo>
                      <a:pt x="29" y="122"/>
                    </a:lnTo>
                    <a:lnTo>
                      <a:pt x="30" y="123"/>
                    </a:lnTo>
                    <a:lnTo>
                      <a:pt x="31" y="123"/>
                    </a:lnTo>
                    <a:lnTo>
                      <a:pt x="32" y="123"/>
                    </a:lnTo>
                    <a:lnTo>
                      <a:pt x="34" y="122"/>
                    </a:lnTo>
                    <a:lnTo>
                      <a:pt x="35" y="122"/>
                    </a:lnTo>
                    <a:lnTo>
                      <a:pt x="36" y="122"/>
                    </a:lnTo>
                    <a:lnTo>
                      <a:pt x="36" y="123"/>
                    </a:lnTo>
                    <a:lnTo>
                      <a:pt x="36" y="124"/>
                    </a:lnTo>
                    <a:lnTo>
                      <a:pt x="36" y="125"/>
                    </a:lnTo>
                    <a:lnTo>
                      <a:pt x="36" y="126"/>
                    </a:lnTo>
                    <a:lnTo>
                      <a:pt x="37" y="128"/>
                    </a:lnTo>
                    <a:lnTo>
                      <a:pt x="37" y="129"/>
                    </a:lnTo>
                    <a:lnTo>
                      <a:pt x="38" y="130"/>
                    </a:lnTo>
                    <a:lnTo>
                      <a:pt x="38" y="131"/>
                    </a:lnTo>
                    <a:lnTo>
                      <a:pt x="38" y="132"/>
                    </a:lnTo>
                    <a:lnTo>
                      <a:pt x="37" y="134"/>
                    </a:lnTo>
                    <a:lnTo>
                      <a:pt x="37" y="135"/>
                    </a:lnTo>
                    <a:lnTo>
                      <a:pt x="37" y="136"/>
                    </a:lnTo>
                    <a:lnTo>
                      <a:pt x="37" y="137"/>
                    </a:lnTo>
                    <a:lnTo>
                      <a:pt x="36" y="138"/>
                    </a:lnTo>
                    <a:lnTo>
                      <a:pt x="37" y="140"/>
                    </a:lnTo>
                    <a:lnTo>
                      <a:pt x="37" y="141"/>
                    </a:lnTo>
                    <a:lnTo>
                      <a:pt x="37" y="142"/>
                    </a:lnTo>
                    <a:lnTo>
                      <a:pt x="36" y="143"/>
                    </a:lnTo>
                    <a:lnTo>
                      <a:pt x="36" y="144"/>
                    </a:lnTo>
                    <a:lnTo>
                      <a:pt x="36" y="146"/>
                    </a:lnTo>
                    <a:lnTo>
                      <a:pt x="36" y="147"/>
                    </a:lnTo>
                    <a:lnTo>
                      <a:pt x="35" y="147"/>
                    </a:lnTo>
                    <a:lnTo>
                      <a:pt x="36" y="148"/>
                    </a:lnTo>
                    <a:lnTo>
                      <a:pt x="35" y="148"/>
                    </a:lnTo>
                    <a:lnTo>
                      <a:pt x="35" y="149"/>
                    </a:lnTo>
                    <a:lnTo>
                      <a:pt x="34" y="150"/>
                    </a:lnTo>
                    <a:lnTo>
                      <a:pt x="34" y="152"/>
                    </a:lnTo>
                    <a:lnTo>
                      <a:pt x="32" y="152"/>
                    </a:lnTo>
                    <a:lnTo>
                      <a:pt x="31" y="152"/>
                    </a:lnTo>
                    <a:lnTo>
                      <a:pt x="30" y="153"/>
                    </a:lnTo>
                    <a:lnTo>
                      <a:pt x="30" y="154"/>
                    </a:lnTo>
                    <a:lnTo>
                      <a:pt x="31" y="155"/>
                    </a:lnTo>
                    <a:lnTo>
                      <a:pt x="31" y="156"/>
                    </a:lnTo>
                    <a:lnTo>
                      <a:pt x="32" y="158"/>
                    </a:lnTo>
                    <a:lnTo>
                      <a:pt x="34" y="158"/>
                    </a:lnTo>
                    <a:lnTo>
                      <a:pt x="35" y="159"/>
                    </a:lnTo>
                    <a:lnTo>
                      <a:pt x="36" y="159"/>
                    </a:lnTo>
                    <a:lnTo>
                      <a:pt x="35" y="160"/>
                    </a:lnTo>
                    <a:lnTo>
                      <a:pt x="35" y="161"/>
                    </a:lnTo>
                    <a:lnTo>
                      <a:pt x="34" y="162"/>
                    </a:lnTo>
                    <a:lnTo>
                      <a:pt x="34" y="164"/>
                    </a:lnTo>
                    <a:lnTo>
                      <a:pt x="34" y="165"/>
                    </a:lnTo>
                    <a:lnTo>
                      <a:pt x="32" y="166"/>
                    </a:lnTo>
                    <a:lnTo>
                      <a:pt x="31" y="167"/>
                    </a:lnTo>
                    <a:lnTo>
                      <a:pt x="31" y="168"/>
                    </a:lnTo>
                    <a:lnTo>
                      <a:pt x="31" y="170"/>
                    </a:lnTo>
                    <a:lnTo>
                      <a:pt x="32" y="171"/>
                    </a:lnTo>
                    <a:lnTo>
                      <a:pt x="32" y="170"/>
                    </a:lnTo>
                    <a:lnTo>
                      <a:pt x="34" y="171"/>
                    </a:lnTo>
                    <a:lnTo>
                      <a:pt x="35" y="170"/>
                    </a:lnTo>
                    <a:lnTo>
                      <a:pt x="35" y="168"/>
                    </a:lnTo>
                    <a:lnTo>
                      <a:pt x="37" y="168"/>
                    </a:lnTo>
                    <a:lnTo>
                      <a:pt x="38" y="170"/>
                    </a:lnTo>
                    <a:lnTo>
                      <a:pt x="40" y="168"/>
                    </a:lnTo>
                    <a:lnTo>
                      <a:pt x="41" y="168"/>
                    </a:lnTo>
                    <a:lnTo>
                      <a:pt x="42" y="168"/>
                    </a:lnTo>
                    <a:lnTo>
                      <a:pt x="42" y="170"/>
                    </a:lnTo>
                    <a:lnTo>
                      <a:pt x="43" y="170"/>
                    </a:lnTo>
                    <a:lnTo>
                      <a:pt x="46" y="170"/>
                    </a:lnTo>
                    <a:lnTo>
                      <a:pt x="46" y="168"/>
                    </a:lnTo>
                    <a:lnTo>
                      <a:pt x="47" y="168"/>
                    </a:lnTo>
                    <a:lnTo>
                      <a:pt x="47" y="170"/>
                    </a:lnTo>
                    <a:lnTo>
                      <a:pt x="48" y="170"/>
                    </a:lnTo>
                    <a:lnTo>
                      <a:pt x="49" y="170"/>
                    </a:lnTo>
                    <a:lnTo>
                      <a:pt x="49" y="168"/>
                    </a:lnTo>
                    <a:lnTo>
                      <a:pt x="49" y="167"/>
                    </a:lnTo>
                    <a:lnTo>
                      <a:pt x="50" y="166"/>
                    </a:lnTo>
                    <a:lnTo>
                      <a:pt x="50" y="165"/>
                    </a:lnTo>
                    <a:lnTo>
                      <a:pt x="52" y="165"/>
                    </a:lnTo>
                    <a:lnTo>
                      <a:pt x="53" y="165"/>
                    </a:lnTo>
                    <a:lnTo>
                      <a:pt x="54" y="164"/>
                    </a:lnTo>
                    <a:lnTo>
                      <a:pt x="55" y="164"/>
                    </a:lnTo>
                    <a:lnTo>
                      <a:pt x="56" y="162"/>
                    </a:lnTo>
                    <a:lnTo>
                      <a:pt x="56" y="161"/>
                    </a:lnTo>
                    <a:lnTo>
                      <a:pt x="58" y="161"/>
                    </a:lnTo>
                    <a:lnTo>
                      <a:pt x="59" y="159"/>
                    </a:lnTo>
                    <a:lnTo>
                      <a:pt x="60" y="159"/>
                    </a:lnTo>
                    <a:lnTo>
                      <a:pt x="61" y="158"/>
                    </a:lnTo>
                    <a:lnTo>
                      <a:pt x="62" y="156"/>
                    </a:lnTo>
                    <a:lnTo>
                      <a:pt x="64" y="158"/>
                    </a:lnTo>
                    <a:lnTo>
                      <a:pt x="65" y="158"/>
                    </a:lnTo>
                    <a:lnTo>
                      <a:pt x="65" y="159"/>
                    </a:lnTo>
                    <a:lnTo>
                      <a:pt x="66" y="159"/>
                    </a:lnTo>
                    <a:lnTo>
                      <a:pt x="66" y="160"/>
                    </a:lnTo>
                    <a:lnTo>
                      <a:pt x="66" y="161"/>
                    </a:lnTo>
                    <a:lnTo>
                      <a:pt x="67" y="161"/>
                    </a:lnTo>
                    <a:lnTo>
                      <a:pt x="67" y="162"/>
                    </a:lnTo>
                    <a:lnTo>
                      <a:pt x="67" y="164"/>
                    </a:lnTo>
                    <a:lnTo>
                      <a:pt x="67" y="165"/>
                    </a:lnTo>
                    <a:lnTo>
                      <a:pt x="67" y="166"/>
                    </a:lnTo>
                    <a:lnTo>
                      <a:pt x="67" y="167"/>
                    </a:lnTo>
                    <a:lnTo>
                      <a:pt x="67" y="168"/>
                    </a:lnTo>
                    <a:lnTo>
                      <a:pt x="67" y="170"/>
                    </a:lnTo>
                    <a:lnTo>
                      <a:pt x="67" y="171"/>
                    </a:lnTo>
                    <a:lnTo>
                      <a:pt x="68" y="173"/>
                    </a:lnTo>
                    <a:lnTo>
                      <a:pt x="70" y="173"/>
                    </a:lnTo>
                    <a:lnTo>
                      <a:pt x="70" y="174"/>
                    </a:lnTo>
                    <a:lnTo>
                      <a:pt x="71" y="176"/>
                    </a:lnTo>
                    <a:lnTo>
                      <a:pt x="71" y="177"/>
                    </a:lnTo>
                    <a:lnTo>
                      <a:pt x="72" y="177"/>
                    </a:lnTo>
                    <a:lnTo>
                      <a:pt x="72" y="178"/>
                    </a:lnTo>
                    <a:lnTo>
                      <a:pt x="71" y="179"/>
                    </a:lnTo>
                    <a:lnTo>
                      <a:pt x="73" y="180"/>
                    </a:lnTo>
                    <a:lnTo>
                      <a:pt x="74" y="180"/>
                    </a:lnTo>
                    <a:lnTo>
                      <a:pt x="73" y="182"/>
                    </a:lnTo>
                    <a:lnTo>
                      <a:pt x="73" y="183"/>
                    </a:lnTo>
                    <a:lnTo>
                      <a:pt x="73" y="184"/>
                    </a:lnTo>
                    <a:lnTo>
                      <a:pt x="74" y="185"/>
                    </a:lnTo>
                    <a:lnTo>
                      <a:pt x="76" y="186"/>
                    </a:lnTo>
                    <a:lnTo>
                      <a:pt x="76" y="188"/>
                    </a:lnTo>
                    <a:lnTo>
                      <a:pt x="77" y="188"/>
                    </a:lnTo>
                    <a:lnTo>
                      <a:pt x="78" y="189"/>
                    </a:lnTo>
                    <a:lnTo>
                      <a:pt x="79" y="190"/>
                    </a:lnTo>
                    <a:lnTo>
                      <a:pt x="78" y="190"/>
                    </a:lnTo>
                    <a:lnTo>
                      <a:pt x="78" y="191"/>
                    </a:lnTo>
                    <a:lnTo>
                      <a:pt x="78" y="192"/>
                    </a:lnTo>
                    <a:lnTo>
                      <a:pt x="78" y="194"/>
                    </a:lnTo>
                    <a:lnTo>
                      <a:pt x="79" y="194"/>
                    </a:lnTo>
                    <a:lnTo>
                      <a:pt x="80" y="194"/>
                    </a:lnTo>
                    <a:lnTo>
                      <a:pt x="80" y="195"/>
                    </a:lnTo>
                    <a:lnTo>
                      <a:pt x="80" y="196"/>
                    </a:lnTo>
                    <a:lnTo>
                      <a:pt x="80" y="197"/>
                    </a:lnTo>
                    <a:lnTo>
                      <a:pt x="80" y="198"/>
                    </a:lnTo>
                    <a:lnTo>
                      <a:pt x="82" y="198"/>
                    </a:lnTo>
                    <a:lnTo>
                      <a:pt x="83" y="198"/>
                    </a:lnTo>
                    <a:lnTo>
                      <a:pt x="83" y="200"/>
                    </a:lnTo>
                    <a:lnTo>
                      <a:pt x="84" y="201"/>
                    </a:lnTo>
                    <a:lnTo>
                      <a:pt x="85" y="201"/>
                    </a:lnTo>
                    <a:lnTo>
                      <a:pt x="86" y="201"/>
                    </a:lnTo>
                    <a:lnTo>
                      <a:pt x="88" y="200"/>
                    </a:lnTo>
                    <a:lnTo>
                      <a:pt x="88" y="198"/>
                    </a:lnTo>
                    <a:lnTo>
                      <a:pt x="89" y="197"/>
                    </a:lnTo>
                    <a:lnTo>
                      <a:pt x="89" y="196"/>
                    </a:lnTo>
                    <a:lnTo>
                      <a:pt x="90" y="196"/>
                    </a:lnTo>
                    <a:lnTo>
                      <a:pt x="90" y="197"/>
                    </a:lnTo>
                    <a:lnTo>
                      <a:pt x="91" y="197"/>
                    </a:lnTo>
                    <a:lnTo>
                      <a:pt x="91" y="196"/>
                    </a:lnTo>
                    <a:lnTo>
                      <a:pt x="92" y="196"/>
                    </a:lnTo>
                    <a:lnTo>
                      <a:pt x="94" y="195"/>
                    </a:lnTo>
                    <a:lnTo>
                      <a:pt x="94" y="194"/>
                    </a:lnTo>
                    <a:lnTo>
                      <a:pt x="95" y="194"/>
                    </a:lnTo>
                    <a:lnTo>
                      <a:pt x="95" y="192"/>
                    </a:lnTo>
                    <a:lnTo>
                      <a:pt x="96" y="192"/>
                    </a:lnTo>
                    <a:lnTo>
                      <a:pt x="96" y="191"/>
                    </a:lnTo>
                    <a:lnTo>
                      <a:pt x="97" y="190"/>
                    </a:lnTo>
                    <a:lnTo>
                      <a:pt x="98" y="190"/>
                    </a:lnTo>
                    <a:lnTo>
                      <a:pt x="98" y="189"/>
                    </a:lnTo>
                    <a:lnTo>
                      <a:pt x="100" y="190"/>
                    </a:lnTo>
                    <a:lnTo>
                      <a:pt x="100" y="191"/>
                    </a:lnTo>
                    <a:lnTo>
                      <a:pt x="100" y="192"/>
                    </a:lnTo>
                    <a:lnTo>
                      <a:pt x="100" y="194"/>
                    </a:lnTo>
                    <a:lnTo>
                      <a:pt x="101" y="194"/>
                    </a:lnTo>
                    <a:lnTo>
                      <a:pt x="102" y="195"/>
                    </a:lnTo>
                    <a:lnTo>
                      <a:pt x="103" y="195"/>
                    </a:lnTo>
                    <a:lnTo>
                      <a:pt x="103" y="196"/>
                    </a:lnTo>
                    <a:lnTo>
                      <a:pt x="103" y="197"/>
                    </a:lnTo>
                    <a:lnTo>
                      <a:pt x="103" y="198"/>
                    </a:lnTo>
                    <a:lnTo>
                      <a:pt x="103" y="200"/>
                    </a:lnTo>
                    <a:lnTo>
                      <a:pt x="104" y="200"/>
                    </a:lnTo>
                    <a:lnTo>
                      <a:pt x="106" y="200"/>
                    </a:lnTo>
                    <a:lnTo>
                      <a:pt x="107" y="198"/>
                    </a:lnTo>
                    <a:lnTo>
                      <a:pt x="108" y="198"/>
                    </a:lnTo>
                    <a:lnTo>
                      <a:pt x="109" y="198"/>
                    </a:lnTo>
                    <a:lnTo>
                      <a:pt x="109" y="197"/>
                    </a:lnTo>
                    <a:lnTo>
                      <a:pt x="110" y="198"/>
                    </a:lnTo>
                    <a:lnTo>
                      <a:pt x="112" y="198"/>
                    </a:lnTo>
                    <a:lnTo>
                      <a:pt x="113" y="197"/>
                    </a:lnTo>
                    <a:lnTo>
                      <a:pt x="114" y="197"/>
                    </a:lnTo>
                    <a:lnTo>
                      <a:pt x="115" y="197"/>
                    </a:lnTo>
                    <a:lnTo>
                      <a:pt x="116" y="196"/>
                    </a:lnTo>
                    <a:lnTo>
                      <a:pt x="118" y="196"/>
                    </a:lnTo>
                    <a:lnTo>
                      <a:pt x="119" y="196"/>
                    </a:lnTo>
                    <a:lnTo>
                      <a:pt x="119" y="195"/>
                    </a:lnTo>
                    <a:lnTo>
                      <a:pt x="119" y="194"/>
                    </a:lnTo>
                    <a:lnTo>
                      <a:pt x="120" y="194"/>
                    </a:lnTo>
                    <a:lnTo>
                      <a:pt x="120" y="192"/>
                    </a:lnTo>
                    <a:lnTo>
                      <a:pt x="121" y="191"/>
                    </a:lnTo>
                    <a:lnTo>
                      <a:pt x="122" y="191"/>
                    </a:lnTo>
                    <a:lnTo>
                      <a:pt x="124" y="191"/>
                    </a:lnTo>
                    <a:lnTo>
                      <a:pt x="125" y="191"/>
                    </a:lnTo>
                    <a:lnTo>
                      <a:pt x="126" y="190"/>
                    </a:lnTo>
                    <a:lnTo>
                      <a:pt x="126" y="189"/>
                    </a:lnTo>
                    <a:lnTo>
                      <a:pt x="127" y="188"/>
                    </a:lnTo>
                    <a:lnTo>
                      <a:pt x="128" y="188"/>
                    </a:lnTo>
                    <a:lnTo>
                      <a:pt x="128" y="186"/>
                    </a:lnTo>
                    <a:lnTo>
                      <a:pt x="130" y="185"/>
                    </a:lnTo>
                    <a:lnTo>
                      <a:pt x="131" y="185"/>
                    </a:lnTo>
                    <a:lnTo>
                      <a:pt x="131" y="184"/>
                    </a:lnTo>
                    <a:lnTo>
                      <a:pt x="132" y="184"/>
                    </a:lnTo>
                    <a:lnTo>
                      <a:pt x="133" y="184"/>
                    </a:lnTo>
                    <a:lnTo>
                      <a:pt x="133" y="183"/>
                    </a:lnTo>
                    <a:lnTo>
                      <a:pt x="134" y="183"/>
                    </a:lnTo>
                    <a:lnTo>
                      <a:pt x="136" y="183"/>
                    </a:lnTo>
                    <a:lnTo>
                      <a:pt x="136" y="182"/>
                    </a:lnTo>
                    <a:lnTo>
                      <a:pt x="137" y="180"/>
                    </a:lnTo>
                    <a:lnTo>
                      <a:pt x="138" y="180"/>
                    </a:lnTo>
                    <a:lnTo>
                      <a:pt x="138" y="179"/>
                    </a:lnTo>
                    <a:lnTo>
                      <a:pt x="138" y="178"/>
                    </a:lnTo>
                    <a:lnTo>
                      <a:pt x="138" y="177"/>
                    </a:lnTo>
                    <a:lnTo>
                      <a:pt x="139" y="177"/>
                    </a:lnTo>
                    <a:lnTo>
                      <a:pt x="140" y="177"/>
                    </a:lnTo>
                    <a:lnTo>
                      <a:pt x="142" y="177"/>
                    </a:lnTo>
                    <a:lnTo>
                      <a:pt x="142" y="178"/>
                    </a:lnTo>
                    <a:lnTo>
                      <a:pt x="143" y="178"/>
                    </a:lnTo>
                    <a:lnTo>
                      <a:pt x="143" y="179"/>
                    </a:lnTo>
                    <a:lnTo>
                      <a:pt x="143" y="180"/>
                    </a:lnTo>
                    <a:lnTo>
                      <a:pt x="144" y="182"/>
                    </a:lnTo>
                    <a:lnTo>
                      <a:pt x="144" y="183"/>
                    </a:lnTo>
                    <a:lnTo>
                      <a:pt x="145" y="184"/>
                    </a:lnTo>
                    <a:lnTo>
                      <a:pt x="146" y="184"/>
                    </a:lnTo>
                    <a:lnTo>
                      <a:pt x="148" y="185"/>
                    </a:lnTo>
                    <a:lnTo>
                      <a:pt x="149" y="186"/>
                    </a:lnTo>
                    <a:lnTo>
                      <a:pt x="150" y="185"/>
                    </a:lnTo>
                    <a:lnTo>
                      <a:pt x="150" y="186"/>
                    </a:lnTo>
                    <a:lnTo>
                      <a:pt x="151" y="185"/>
                    </a:lnTo>
                    <a:lnTo>
                      <a:pt x="152" y="185"/>
                    </a:lnTo>
                    <a:lnTo>
                      <a:pt x="154" y="185"/>
                    </a:lnTo>
                    <a:lnTo>
                      <a:pt x="155" y="185"/>
                    </a:lnTo>
                    <a:lnTo>
                      <a:pt x="155" y="184"/>
                    </a:lnTo>
                    <a:lnTo>
                      <a:pt x="156" y="184"/>
                    </a:lnTo>
                    <a:lnTo>
                      <a:pt x="156" y="183"/>
                    </a:lnTo>
                    <a:lnTo>
                      <a:pt x="157" y="182"/>
                    </a:lnTo>
                    <a:lnTo>
                      <a:pt x="157" y="180"/>
                    </a:lnTo>
                    <a:lnTo>
                      <a:pt x="157" y="179"/>
                    </a:lnTo>
                    <a:lnTo>
                      <a:pt x="158" y="179"/>
                    </a:lnTo>
                    <a:lnTo>
                      <a:pt x="160" y="178"/>
                    </a:lnTo>
                    <a:lnTo>
                      <a:pt x="160" y="179"/>
                    </a:lnTo>
                    <a:lnTo>
                      <a:pt x="161" y="179"/>
                    </a:lnTo>
                    <a:lnTo>
                      <a:pt x="160" y="180"/>
                    </a:lnTo>
                    <a:lnTo>
                      <a:pt x="160" y="182"/>
                    </a:lnTo>
                    <a:lnTo>
                      <a:pt x="160" y="183"/>
                    </a:lnTo>
                    <a:lnTo>
                      <a:pt x="161" y="183"/>
                    </a:lnTo>
                    <a:lnTo>
                      <a:pt x="161" y="184"/>
                    </a:lnTo>
                    <a:lnTo>
                      <a:pt x="161" y="185"/>
                    </a:lnTo>
                    <a:lnTo>
                      <a:pt x="162" y="185"/>
                    </a:lnTo>
                    <a:lnTo>
                      <a:pt x="162" y="186"/>
                    </a:lnTo>
                    <a:lnTo>
                      <a:pt x="161" y="186"/>
                    </a:lnTo>
                    <a:lnTo>
                      <a:pt x="161" y="188"/>
                    </a:lnTo>
                    <a:lnTo>
                      <a:pt x="161" y="189"/>
                    </a:lnTo>
                    <a:lnTo>
                      <a:pt x="161" y="190"/>
                    </a:lnTo>
                    <a:lnTo>
                      <a:pt x="162" y="190"/>
                    </a:lnTo>
                    <a:lnTo>
                      <a:pt x="161" y="191"/>
                    </a:lnTo>
                    <a:lnTo>
                      <a:pt x="162" y="192"/>
                    </a:lnTo>
                    <a:lnTo>
                      <a:pt x="162" y="194"/>
                    </a:lnTo>
                    <a:lnTo>
                      <a:pt x="161" y="195"/>
                    </a:lnTo>
                    <a:lnTo>
                      <a:pt x="161" y="196"/>
                    </a:lnTo>
                    <a:lnTo>
                      <a:pt x="161" y="197"/>
                    </a:lnTo>
                    <a:lnTo>
                      <a:pt x="161" y="198"/>
                    </a:lnTo>
                    <a:lnTo>
                      <a:pt x="162" y="198"/>
                    </a:lnTo>
                    <a:lnTo>
                      <a:pt x="163" y="200"/>
                    </a:lnTo>
                    <a:lnTo>
                      <a:pt x="164" y="200"/>
                    </a:lnTo>
                    <a:lnTo>
                      <a:pt x="166" y="201"/>
                    </a:lnTo>
                    <a:lnTo>
                      <a:pt x="166" y="202"/>
                    </a:lnTo>
                    <a:lnTo>
                      <a:pt x="167" y="202"/>
                    </a:lnTo>
                    <a:lnTo>
                      <a:pt x="167" y="203"/>
                    </a:lnTo>
                    <a:lnTo>
                      <a:pt x="167" y="204"/>
                    </a:lnTo>
                    <a:lnTo>
                      <a:pt x="168" y="204"/>
                    </a:lnTo>
                    <a:lnTo>
                      <a:pt x="169" y="204"/>
                    </a:lnTo>
                    <a:lnTo>
                      <a:pt x="170" y="206"/>
                    </a:lnTo>
                    <a:lnTo>
                      <a:pt x="172" y="206"/>
                    </a:lnTo>
                    <a:lnTo>
                      <a:pt x="172" y="204"/>
                    </a:lnTo>
                    <a:lnTo>
                      <a:pt x="173" y="204"/>
                    </a:lnTo>
                    <a:lnTo>
                      <a:pt x="174" y="204"/>
                    </a:lnTo>
                    <a:lnTo>
                      <a:pt x="175" y="204"/>
                    </a:lnTo>
                    <a:lnTo>
                      <a:pt x="176" y="204"/>
                    </a:lnTo>
                    <a:lnTo>
                      <a:pt x="178" y="206"/>
                    </a:lnTo>
                    <a:lnTo>
                      <a:pt x="179" y="206"/>
                    </a:lnTo>
                    <a:lnTo>
                      <a:pt x="180" y="204"/>
                    </a:lnTo>
                    <a:lnTo>
                      <a:pt x="181" y="204"/>
                    </a:lnTo>
                    <a:lnTo>
                      <a:pt x="182" y="204"/>
                    </a:lnTo>
                    <a:lnTo>
                      <a:pt x="182" y="203"/>
                    </a:lnTo>
                    <a:lnTo>
                      <a:pt x="182" y="201"/>
                    </a:lnTo>
                    <a:lnTo>
                      <a:pt x="184" y="200"/>
                    </a:lnTo>
                    <a:lnTo>
                      <a:pt x="184" y="198"/>
                    </a:lnTo>
                    <a:lnTo>
                      <a:pt x="182" y="198"/>
                    </a:lnTo>
                    <a:lnTo>
                      <a:pt x="182" y="197"/>
                    </a:lnTo>
                    <a:lnTo>
                      <a:pt x="182" y="196"/>
                    </a:lnTo>
                    <a:lnTo>
                      <a:pt x="184" y="195"/>
                    </a:lnTo>
                    <a:lnTo>
                      <a:pt x="184" y="196"/>
                    </a:lnTo>
                    <a:lnTo>
                      <a:pt x="185" y="196"/>
                    </a:lnTo>
                    <a:lnTo>
                      <a:pt x="186" y="197"/>
                    </a:lnTo>
                    <a:lnTo>
                      <a:pt x="187" y="197"/>
                    </a:lnTo>
                    <a:lnTo>
                      <a:pt x="188" y="197"/>
                    </a:lnTo>
                    <a:lnTo>
                      <a:pt x="191" y="195"/>
                    </a:lnTo>
                    <a:lnTo>
                      <a:pt x="192" y="195"/>
                    </a:lnTo>
                    <a:lnTo>
                      <a:pt x="192" y="194"/>
                    </a:lnTo>
                    <a:lnTo>
                      <a:pt x="192" y="191"/>
                    </a:lnTo>
                    <a:lnTo>
                      <a:pt x="193" y="191"/>
                    </a:lnTo>
                    <a:lnTo>
                      <a:pt x="193" y="190"/>
                    </a:lnTo>
                    <a:lnTo>
                      <a:pt x="193" y="189"/>
                    </a:lnTo>
                    <a:lnTo>
                      <a:pt x="194" y="189"/>
                    </a:lnTo>
                    <a:lnTo>
                      <a:pt x="194" y="188"/>
                    </a:lnTo>
                    <a:lnTo>
                      <a:pt x="196" y="186"/>
                    </a:lnTo>
                    <a:lnTo>
                      <a:pt x="196" y="185"/>
                    </a:lnTo>
                    <a:lnTo>
                      <a:pt x="197" y="184"/>
                    </a:lnTo>
                    <a:lnTo>
                      <a:pt x="197" y="183"/>
                    </a:lnTo>
                    <a:lnTo>
                      <a:pt x="198" y="182"/>
                    </a:lnTo>
                    <a:close/>
                  </a:path>
                </a:pathLst>
              </a:custGeom>
              <a:solidFill>
                <a:srgbClr val="EAEAEA"/>
              </a:solidFill>
              <a:ln w="9525" cmpd="sng">
                <a:solidFill>
                  <a:srgbClr val="777777"/>
                </a:solidFill>
                <a:round/>
                <a:headEnd/>
                <a:tailEnd/>
              </a:ln>
              <a:effectLst>
                <a:outerShdw dist="107763" dir="2700000" algn="ctr" rotWithShape="0">
                  <a:srgbClr val="808080">
                    <a:alpha val="50000"/>
                  </a:srgbClr>
                </a:outerShdw>
              </a:effectLst>
            </p:spPr>
            <p:txBody>
              <a:bodyPr/>
              <a:lstStyle/>
              <a:p>
                <a:pPr latinLnBrk="0">
                  <a:defRPr/>
                </a:pPr>
                <a:endParaRPr kumimoji="0" lang="ko-KR" altLang="en-US" dirty="0">
                  <a:ea typeface="+mn-ea"/>
                </a:endParaRPr>
              </a:p>
            </p:txBody>
          </p:sp>
          <p:sp>
            <p:nvSpPr>
              <p:cNvPr id="36" name="Freeform 28"/>
              <p:cNvSpPr>
                <a:spLocks/>
              </p:cNvSpPr>
              <p:nvPr/>
            </p:nvSpPr>
            <p:spPr bwMode="auto">
              <a:xfrm>
                <a:off x="3033316" y="2786854"/>
                <a:ext cx="288771" cy="209402"/>
              </a:xfrm>
              <a:custGeom>
                <a:avLst/>
                <a:gdLst/>
                <a:ahLst/>
                <a:cxnLst>
                  <a:cxn ang="0">
                    <a:pos x="161" y="164"/>
                  </a:cxn>
                  <a:cxn ang="0">
                    <a:pos x="161" y="173"/>
                  </a:cxn>
                  <a:cxn ang="0">
                    <a:pos x="161" y="183"/>
                  </a:cxn>
                  <a:cxn ang="0">
                    <a:pos x="169" y="189"/>
                  </a:cxn>
                  <a:cxn ang="0">
                    <a:pos x="180" y="189"/>
                  </a:cxn>
                  <a:cxn ang="0">
                    <a:pos x="184" y="180"/>
                  </a:cxn>
                  <a:cxn ang="0">
                    <a:pos x="193" y="176"/>
                  </a:cxn>
                  <a:cxn ang="0">
                    <a:pos x="197" y="168"/>
                  </a:cxn>
                  <a:cxn ang="0">
                    <a:pos x="192" y="179"/>
                  </a:cxn>
                  <a:cxn ang="0">
                    <a:pos x="182" y="182"/>
                  </a:cxn>
                  <a:cxn ang="0">
                    <a:pos x="178" y="191"/>
                  </a:cxn>
                  <a:cxn ang="0">
                    <a:pos x="167" y="189"/>
                  </a:cxn>
                  <a:cxn ang="0">
                    <a:pos x="161" y="181"/>
                  </a:cxn>
                  <a:cxn ang="0">
                    <a:pos x="162" y="171"/>
                  </a:cxn>
                  <a:cxn ang="0">
                    <a:pos x="160" y="163"/>
                  </a:cxn>
                  <a:cxn ang="0">
                    <a:pos x="152" y="170"/>
                  </a:cxn>
                  <a:cxn ang="0">
                    <a:pos x="143" y="165"/>
                  </a:cxn>
                  <a:cxn ang="0">
                    <a:pos x="138" y="165"/>
                  </a:cxn>
                  <a:cxn ang="0">
                    <a:pos x="130" y="170"/>
                  </a:cxn>
                  <a:cxn ang="0">
                    <a:pos x="120" y="177"/>
                  </a:cxn>
                  <a:cxn ang="0">
                    <a:pos x="112" y="183"/>
                  </a:cxn>
                  <a:cxn ang="0">
                    <a:pos x="103" y="182"/>
                  </a:cxn>
                  <a:cxn ang="0">
                    <a:pos x="98" y="175"/>
                  </a:cxn>
                  <a:cxn ang="0">
                    <a:pos x="91" y="182"/>
                  </a:cxn>
                  <a:cxn ang="0">
                    <a:pos x="83" y="185"/>
                  </a:cxn>
                  <a:cxn ang="0">
                    <a:pos x="78" y="177"/>
                  </a:cxn>
                  <a:cxn ang="0">
                    <a:pos x="73" y="168"/>
                  </a:cxn>
                  <a:cxn ang="0">
                    <a:pos x="70" y="158"/>
                  </a:cxn>
                  <a:cxn ang="0">
                    <a:pos x="67" y="146"/>
                  </a:cxn>
                  <a:cxn ang="0">
                    <a:pos x="59" y="144"/>
                  </a:cxn>
                  <a:cxn ang="0">
                    <a:pos x="49" y="152"/>
                  </a:cxn>
                  <a:cxn ang="0">
                    <a:pos x="42" y="153"/>
                  </a:cxn>
                  <a:cxn ang="0">
                    <a:pos x="31" y="155"/>
                  </a:cxn>
                  <a:cxn ang="0">
                    <a:pos x="35" y="144"/>
                  </a:cxn>
                  <a:cxn ang="0">
                    <a:pos x="34" y="135"/>
                  </a:cxn>
                  <a:cxn ang="0">
                    <a:pos x="37" y="126"/>
                  </a:cxn>
                  <a:cxn ang="0">
                    <a:pos x="37" y="114"/>
                  </a:cxn>
                  <a:cxn ang="0">
                    <a:pos x="31" y="108"/>
                  </a:cxn>
                  <a:cxn ang="0">
                    <a:pos x="20" y="108"/>
                  </a:cxn>
                  <a:cxn ang="0">
                    <a:pos x="11" y="103"/>
                  </a:cxn>
                  <a:cxn ang="0">
                    <a:pos x="5" y="92"/>
                  </a:cxn>
                  <a:cxn ang="0">
                    <a:pos x="11" y="81"/>
                  </a:cxn>
                  <a:cxn ang="0">
                    <a:pos x="22" y="71"/>
                  </a:cxn>
                  <a:cxn ang="0">
                    <a:pos x="41" y="72"/>
                  </a:cxn>
                  <a:cxn ang="0">
                    <a:pos x="68" y="74"/>
                  </a:cxn>
                  <a:cxn ang="0">
                    <a:pos x="74" y="69"/>
                  </a:cxn>
                  <a:cxn ang="0">
                    <a:pos x="83" y="65"/>
                  </a:cxn>
                  <a:cxn ang="0">
                    <a:pos x="83" y="55"/>
                  </a:cxn>
                  <a:cxn ang="0">
                    <a:pos x="85" y="45"/>
                  </a:cxn>
                  <a:cxn ang="0">
                    <a:pos x="88" y="32"/>
                  </a:cxn>
                  <a:cxn ang="0">
                    <a:pos x="89" y="27"/>
                  </a:cxn>
                  <a:cxn ang="0">
                    <a:pos x="101" y="24"/>
                  </a:cxn>
                  <a:cxn ang="0">
                    <a:pos x="110" y="20"/>
                  </a:cxn>
                  <a:cxn ang="0">
                    <a:pos x="116" y="29"/>
                  </a:cxn>
                  <a:cxn ang="0">
                    <a:pos x="125" y="39"/>
                  </a:cxn>
                  <a:cxn ang="0">
                    <a:pos x="131" y="33"/>
                  </a:cxn>
                  <a:cxn ang="0">
                    <a:pos x="128" y="23"/>
                  </a:cxn>
                  <a:cxn ang="0">
                    <a:pos x="133" y="14"/>
                  </a:cxn>
                  <a:cxn ang="0">
                    <a:pos x="136" y="6"/>
                  </a:cxn>
                </a:cxnLst>
                <a:rect l="0" t="0" r="r" b="b"/>
                <a:pathLst>
                  <a:path w="198" h="191">
                    <a:moveTo>
                      <a:pt x="155" y="169"/>
                    </a:moveTo>
                    <a:lnTo>
                      <a:pt x="156" y="169"/>
                    </a:lnTo>
                    <a:lnTo>
                      <a:pt x="156" y="168"/>
                    </a:lnTo>
                    <a:lnTo>
                      <a:pt x="157" y="167"/>
                    </a:lnTo>
                    <a:lnTo>
                      <a:pt x="157" y="165"/>
                    </a:lnTo>
                    <a:lnTo>
                      <a:pt x="157" y="164"/>
                    </a:lnTo>
                    <a:lnTo>
                      <a:pt x="158" y="164"/>
                    </a:lnTo>
                    <a:lnTo>
                      <a:pt x="160" y="163"/>
                    </a:lnTo>
                    <a:lnTo>
                      <a:pt x="160" y="164"/>
                    </a:lnTo>
                    <a:lnTo>
                      <a:pt x="161" y="164"/>
                    </a:lnTo>
                    <a:lnTo>
                      <a:pt x="160" y="165"/>
                    </a:lnTo>
                    <a:lnTo>
                      <a:pt x="160" y="167"/>
                    </a:lnTo>
                    <a:lnTo>
                      <a:pt x="160" y="168"/>
                    </a:lnTo>
                    <a:lnTo>
                      <a:pt x="161" y="168"/>
                    </a:lnTo>
                    <a:lnTo>
                      <a:pt x="161" y="169"/>
                    </a:lnTo>
                    <a:lnTo>
                      <a:pt x="161" y="170"/>
                    </a:lnTo>
                    <a:lnTo>
                      <a:pt x="162" y="170"/>
                    </a:lnTo>
                    <a:lnTo>
                      <a:pt x="162" y="171"/>
                    </a:lnTo>
                    <a:lnTo>
                      <a:pt x="161" y="171"/>
                    </a:lnTo>
                    <a:lnTo>
                      <a:pt x="161" y="173"/>
                    </a:lnTo>
                    <a:lnTo>
                      <a:pt x="161" y="174"/>
                    </a:lnTo>
                    <a:lnTo>
                      <a:pt x="161" y="175"/>
                    </a:lnTo>
                    <a:lnTo>
                      <a:pt x="162" y="175"/>
                    </a:lnTo>
                    <a:lnTo>
                      <a:pt x="161" y="176"/>
                    </a:lnTo>
                    <a:lnTo>
                      <a:pt x="162" y="177"/>
                    </a:lnTo>
                    <a:lnTo>
                      <a:pt x="162" y="179"/>
                    </a:lnTo>
                    <a:lnTo>
                      <a:pt x="161" y="180"/>
                    </a:lnTo>
                    <a:lnTo>
                      <a:pt x="161" y="181"/>
                    </a:lnTo>
                    <a:lnTo>
                      <a:pt x="161" y="182"/>
                    </a:lnTo>
                    <a:lnTo>
                      <a:pt x="161" y="183"/>
                    </a:lnTo>
                    <a:lnTo>
                      <a:pt x="162" y="183"/>
                    </a:lnTo>
                    <a:lnTo>
                      <a:pt x="163" y="185"/>
                    </a:lnTo>
                    <a:lnTo>
                      <a:pt x="164" y="185"/>
                    </a:lnTo>
                    <a:lnTo>
                      <a:pt x="166" y="186"/>
                    </a:lnTo>
                    <a:lnTo>
                      <a:pt x="166" y="187"/>
                    </a:lnTo>
                    <a:lnTo>
                      <a:pt x="167" y="187"/>
                    </a:lnTo>
                    <a:lnTo>
                      <a:pt x="167" y="188"/>
                    </a:lnTo>
                    <a:lnTo>
                      <a:pt x="167" y="189"/>
                    </a:lnTo>
                    <a:lnTo>
                      <a:pt x="168" y="189"/>
                    </a:lnTo>
                    <a:lnTo>
                      <a:pt x="169" y="189"/>
                    </a:lnTo>
                    <a:lnTo>
                      <a:pt x="170" y="191"/>
                    </a:lnTo>
                    <a:lnTo>
                      <a:pt x="172" y="191"/>
                    </a:lnTo>
                    <a:lnTo>
                      <a:pt x="172" y="189"/>
                    </a:lnTo>
                    <a:lnTo>
                      <a:pt x="173" y="189"/>
                    </a:lnTo>
                    <a:lnTo>
                      <a:pt x="174" y="189"/>
                    </a:lnTo>
                    <a:lnTo>
                      <a:pt x="175" y="189"/>
                    </a:lnTo>
                    <a:lnTo>
                      <a:pt x="176" y="189"/>
                    </a:lnTo>
                    <a:lnTo>
                      <a:pt x="178" y="191"/>
                    </a:lnTo>
                    <a:lnTo>
                      <a:pt x="179" y="191"/>
                    </a:lnTo>
                    <a:lnTo>
                      <a:pt x="180" y="189"/>
                    </a:lnTo>
                    <a:lnTo>
                      <a:pt x="181" y="189"/>
                    </a:lnTo>
                    <a:lnTo>
                      <a:pt x="182" y="189"/>
                    </a:lnTo>
                    <a:lnTo>
                      <a:pt x="182" y="188"/>
                    </a:lnTo>
                    <a:lnTo>
                      <a:pt x="182" y="186"/>
                    </a:lnTo>
                    <a:lnTo>
                      <a:pt x="184" y="185"/>
                    </a:lnTo>
                    <a:lnTo>
                      <a:pt x="184" y="183"/>
                    </a:lnTo>
                    <a:lnTo>
                      <a:pt x="182" y="183"/>
                    </a:lnTo>
                    <a:lnTo>
                      <a:pt x="182" y="182"/>
                    </a:lnTo>
                    <a:lnTo>
                      <a:pt x="182" y="181"/>
                    </a:lnTo>
                    <a:lnTo>
                      <a:pt x="184" y="180"/>
                    </a:lnTo>
                    <a:lnTo>
                      <a:pt x="184" y="181"/>
                    </a:lnTo>
                    <a:lnTo>
                      <a:pt x="185" y="181"/>
                    </a:lnTo>
                    <a:lnTo>
                      <a:pt x="186" y="182"/>
                    </a:lnTo>
                    <a:lnTo>
                      <a:pt x="187" y="182"/>
                    </a:lnTo>
                    <a:lnTo>
                      <a:pt x="188" y="182"/>
                    </a:lnTo>
                    <a:lnTo>
                      <a:pt x="191" y="180"/>
                    </a:lnTo>
                    <a:lnTo>
                      <a:pt x="192" y="180"/>
                    </a:lnTo>
                    <a:lnTo>
                      <a:pt x="192" y="179"/>
                    </a:lnTo>
                    <a:lnTo>
                      <a:pt x="192" y="176"/>
                    </a:lnTo>
                    <a:lnTo>
                      <a:pt x="193" y="176"/>
                    </a:lnTo>
                    <a:lnTo>
                      <a:pt x="193" y="175"/>
                    </a:lnTo>
                    <a:lnTo>
                      <a:pt x="193" y="174"/>
                    </a:lnTo>
                    <a:lnTo>
                      <a:pt x="194" y="174"/>
                    </a:lnTo>
                    <a:lnTo>
                      <a:pt x="194" y="173"/>
                    </a:lnTo>
                    <a:lnTo>
                      <a:pt x="196" y="171"/>
                    </a:lnTo>
                    <a:lnTo>
                      <a:pt x="196" y="170"/>
                    </a:lnTo>
                    <a:lnTo>
                      <a:pt x="197" y="169"/>
                    </a:lnTo>
                    <a:lnTo>
                      <a:pt x="197" y="168"/>
                    </a:lnTo>
                    <a:lnTo>
                      <a:pt x="198" y="167"/>
                    </a:lnTo>
                    <a:lnTo>
                      <a:pt x="197" y="168"/>
                    </a:lnTo>
                    <a:lnTo>
                      <a:pt x="197" y="169"/>
                    </a:lnTo>
                    <a:lnTo>
                      <a:pt x="196" y="170"/>
                    </a:lnTo>
                    <a:lnTo>
                      <a:pt x="196" y="171"/>
                    </a:lnTo>
                    <a:lnTo>
                      <a:pt x="194" y="173"/>
                    </a:lnTo>
                    <a:lnTo>
                      <a:pt x="194" y="174"/>
                    </a:lnTo>
                    <a:lnTo>
                      <a:pt x="193" y="174"/>
                    </a:lnTo>
                    <a:lnTo>
                      <a:pt x="193" y="175"/>
                    </a:lnTo>
                    <a:lnTo>
                      <a:pt x="193" y="176"/>
                    </a:lnTo>
                    <a:lnTo>
                      <a:pt x="192" y="176"/>
                    </a:lnTo>
                    <a:lnTo>
                      <a:pt x="192" y="179"/>
                    </a:lnTo>
                    <a:lnTo>
                      <a:pt x="192" y="180"/>
                    </a:lnTo>
                    <a:lnTo>
                      <a:pt x="191" y="180"/>
                    </a:lnTo>
                    <a:lnTo>
                      <a:pt x="188" y="182"/>
                    </a:lnTo>
                    <a:lnTo>
                      <a:pt x="187" y="182"/>
                    </a:lnTo>
                    <a:lnTo>
                      <a:pt x="186" y="182"/>
                    </a:lnTo>
                    <a:lnTo>
                      <a:pt x="185" y="181"/>
                    </a:lnTo>
                    <a:lnTo>
                      <a:pt x="184" y="181"/>
                    </a:lnTo>
                    <a:lnTo>
                      <a:pt x="184" y="180"/>
                    </a:lnTo>
                    <a:lnTo>
                      <a:pt x="182" y="181"/>
                    </a:lnTo>
                    <a:lnTo>
                      <a:pt x="182" y="182"/>
                    </a:lnTo>
                    <a:lnTo>
                      <a:pt x="182" y="183"/>
                    </a:lnTo>
                    <a:lnTo>
                      <a:pt x="184" y="183"/>
                    </a:lnTo>
                    <a:lnTo>
                      <a:pt x="184" y="185"/>
                    </a:lnTo>
                    <a:lnTo>
                      <a:pt x="182" y="186"/>
                    </a:lnTo>
                    <a:lnTo>
                      <a:pt x="182" y="188"/>
                    </a:lnTo>
                    <a:lnTo>
                      <a:pt x="182" y="189"/>
                    </a:lnTo>
                    <a:lnTo>
                      <a:pt x="181" y="189"/>
                    </a:lnTo>
                    <a:lnTo>
                      <a:pt x="180" y="189"/>
                    </a:lnTo>
                    <a:lnTo>
                      <a:pt x="179" y="191"/>
                    </a:lnTo>
                    <a:lnTo>
                      <a:pt x="178" y="191"/>
                    </a:lnTo>
                    <a:lnTo>
                      <a:pt x="176" y="189"/>
                    </a:lnTo>
                    <a:lnTo>
                      <a:pt x="175" y="189"/>
                    </a:lnTo>
                    <a:lnTo>
                      <a:pt x="174" y="189"/>
                    </a:lnTo>
                    <a:lnTo>
                      <a:pt x="173" y="189"/>
                    </a:lnTo>
                    <a:lnTo>
                      <a:pt x="172" y="189"/>
                    </a:lnTo>
                    <a:lnTo>
                      <a:pt x="172" y="191"/>
                    </a:lnTo>
                    <a:lnTo>
                      <a:pt x="170" y="191"/>
                    </a:lnTo>
                    <a:lnTo>
                      <a:pt x="169" y="189"/>
                    </a:lnTo>
                    <a:lnTo>
                      <a:pt x="168" y="189"/>
                    </a:lnTo>
                    <a:lnTo>
                      <a:pt x="167" y="189"/>
                    </a:lnTo>
                    <a:lnTo>
                      <a:pt x="167" y="188"/>
                    </a:lnTo>
                    <a:lnTo>
                      <a:pt x="167" y="187"/>
                    </a:lnTo>
                    <a:lnTo>
                      <a:pt x="166" y="187"/>
                    </a:lnTo>
                    <a:lnTo>
                      <a:pt x="166" y="186"/>
                    </a:lnTo>
                    <a:lnTo>
                      <a:pt x="164" y="185"/>
                    </a:lnTo>
                    <a:lnTo>
                      <a:pt x="163" y="185"/>
                    </a:lnTo>
                    <a:lnTo>
                      <a:pt x="162" y="183"/>
                    </a:lnTo>
                    <a:lnTo>
                      <a:pt x="161" y="183"/>
                    </a:lnTo>
                    <a:lnTo>
                      <a:pt x="161" y="182"/>
                    </a:lnTo>
                    <a:lnTo>
                      <a:pt x="161" y="181"/>
                    </a:lnTo>
                    <a:lnTo>
                      <a:pt x="161" y="180"/>
                    </a:lnTo>
                    <a:lnTo>
                      <a:pt x="162" y="179"/>
                    </a:lnTo>
                    <a:lnTo>
                      <a:pt x="162" y="177"/>
                    </a:lnTo>
                    <a:lnTo>
                      <a:pt x="161" y="176"/>
                    </a:lnTo>
                    <a:lnTo>
                      <a:pt x="162" y="175"/>
                    </a:lnTo>
                    <a:lnTo>
                      <a:pt x="161" y="175"/>
                    </a:lnTo>
                    <a:lnTo>
                      <a:pt x="161" y="174"/>
                    </a:lnTo>
                    <a:lnTo>
                      <a:pt x="161" y="173"/>
                    </a:lnTo>
                    <a:lnTo>
                      <a:pt x="161" y="171"/>
                    </a:lnTo>
                    <a:lnTo>
                      <a:pt x="162" y="171"/>
                    </a:lnTo>
                    <a:lnTo>
                      <a:pt x="162" y="170"/>
                    </a:lnTo>
                    <a:lnTo>
                      <a:pt x="161" y="170"/>
                    </a:lnTo>
                    <a:lnTo>
                      <a:pt x="161" y="169"/>
                    </a:lnTo>
                    <a:lnTo>
                      <a:pt x="161" y="168"/>
                    </a:lnTo>
                    <a:lnTo>
                      <a:pt x="160" y="168"/>
                    </a:lnTo>
                    <a:lnTo>
                      <a:pt x="160" y="167"/>
                    </a:lnTo>
                    <a:lnTo>
                      <a:pt x="160" y="165"/>
                    </a:lnTo>
                    <a:lnTo>
                      <a:pt x="161" y="164"/>
                    </a:lnTo>
                    <a:lnTo>
                      <a:pt x="160" y="164"/>
                    </a:lnTo>
                    <a:lnTo>
                      <a:pt x="160" y="163"/>
                    </a:lnTo>
                    <a:lnTo>
                      <a:pt x="158" y="164"/>
                    </a:lnTo>
                    <a:lnTo>
                      <a:pt x="157" y="164"/>
                    </a:lnTo>
                    <a:lnTo>
                      <a:pt x="157" y="165"/>
                    </a:lnTo>
                    <a:lnTo>
                      <a:pt x="157" y="167"/>
                    </a:lnTo>
                    <a:lnTo>
                      <a:pt x="156" y="168"/>
                    </a:lnTo>
                    <a:lnTo>
                      <a:pt x="156" y="169"/>
                    </a:lnTo>
                    <a:lnTo>
                      <a:pt x="155" y="169"/>
                    </a:lnTo>
                    <a:lnTo>
                      <a:pt x="155" y="170"/>
                    </a:lnTo>
                    <a:lnTo>
                      <a:pt x="154" y="170"/>
                    </a:lnTo>
                    <a:lnTo>
                      <a:pt x="152" y="170"/>
                    </a:lnTo>
                    <a:lnTo>
                      <a:pt x="151" y="170"/>
                    </a:lnTo>
                    <a:lnTo>
                      <a:pt x="150" y="171"/>
                    </a:lnTo>
                    <a:lnTo>
                      <a:pt x="150" y="170"/>
                    </a:lnTo>
                    <a:lnTo>
                      <a:pt x="149" y="171"/>
                    </a:lnTo>
                    <a:lnTo>
                      <a:pt x="148" y="170"/>
                    </a:lnTo>
                    <a:lnTo>
                      <a:pt x="146" y="169"/>
                    </a:lnTo>
                    <a:lnTo>
                      <a:pt x="145" y="169"/>
                    </a:lnTo>
                    <a:lnTo>
                      <a:pt x="144" y="168"/>
                    </a:lnTo>
                    <a:lnTo>
                      <a:pt x="144" y="167"/>
                    </a:lnTo>
                    <a:lnTo>
                      <a:pt x="143" y="165"/>
                    </a:lnTo>
                    <a:lnTo>
                      <a:pt x="143" y="164"/>
                    </a:lnTo>
                    <a:lnTo>
                      <a:pt x="143" y="163"/>
                    </a:lnTo>
                    <a:lnTo>
                      <a:pt x="142" y="163"/>
                    </a:lnTo>
                    <a:lnTo>
                      <a:pt x="142" y="162"/>
                    </a:lnTo>
                    <a:lnTo>
                      <a:pt x="140" y="162"/>
                    </a:lnTo>
                    <a:lnTo>
                      <a:pt x="139" y="162"/>
                    </a:lnTo>
                    <a:lnTo>
                      <a:pt x="138" y="162"/>
                    </a:lnTo>
                    <a:lnTo>
                      <a:pt x="138" y="163"/>
                    </a:lnTo>
                    <a:lnTo>
                      <a:pt x="138" y="164"/>
                    </a:lnTo>
                    <a:lnTo>
                      <a:pt x="138" y="165"/>
                    </a:lnTo>
                    <a:lnTo>
                      <a:pt x="137" y="165"/>
                    </a:lnTo>
                    <a:lnTo>
                      <a:pt x="136" y="167"/>
                    </a:lnTo>
                    <a:lnTo>
                      <a:pt x="136" y="168"/>
                    </a:lnTo>
                    <a:lnTo>
                      <a:pt x="134" y="168"/>
                    </a:lnTo>
                    <a:lnTo>
                      <a:pt x="133" y="168"/>
                    </a:lnTo>
                    <a:lnTo>
                      <a:pt x="133" y="169"/>
                    </a:lnTo>
                    <a:lnTo>
                      <a:pt x="132" y="169"/>
                    </a:lnTo>
                    <a:lnTo>
                      <a:pt x="131" y="169"/>
                    </a:lnTo>
                    <a:lnTo>
                      <a:pt x="131" y="170"/>
                    </a:lnTo>
                    <a:lnTo>
                      <a:pt x="130" y="170"/>
                    </a:lnTo>
                    <a:lnTo>
                      <a:pt x="128" y="171"/>
                    </a:lnTo>
                    <a:lnTo>
                      <a:pt x="128" y="173"/>
                    </a:lnTo>
                    <a:lnTo>
                      <a:pt x="127" y="173"/>
                    </a:lnTo>
                    <a:lnTo>
                      <a:pt x="126" y="174"/>
                    </a:lnTo>
                    <a:lnTo>
                      <a:pt x="126" y="175"/>
                    </a:lnTo>
                    <a:lnTo>
                      <a:pt x="125" y="176"/>
                    </a:lnTo>
                    <a:lnTo>
                      <a:pt x="124" y="176"/>
                    </a:lnTo>
                    <a:lnTo>
                      <a:pt x="122" y="176"/>
                    </a:lnTo>
                    <a:lnTo>
                      <a:pt x="121" y="176"/>
                    </a:lnTo>
                    <a:lnTo>
                      <a:pt x="120" y="177"/>
                    </a:lnTo>
                    <a:lnTo>
                      <a:pt x="120" y="179"/>
                    </a:lnTo>
                    <a:lnTo>
                      <a:pt x="119" y="179"/>
                    </a:lnTo>
                    <a:lnTo>
                      <a:pt x="119" y="180"/>
                    </a:lnTo>
                    <a:lnTo>
                      <a:pt x="119" y="181"/>
                    </a:lnTo>
                    <a:lnTo>
                      <a:pt x="118" y="181"/>
                    </a:lnTo>
                    <a:lnTo>
                      <a:pt x="116" y="181"/>
                    </a:lnTo>
                    <a:lnTo>
                      <a:pt x="115" y="182"/>
                    </a:lnTo>
                    <a:lnTo>
                      <a:pt x="114" y="182"/>
                    </a:lnTo>
                    <a:lnTo>
                      <a:pt x="113" y="182"/>
                    </a:lnTo>
                    <a:lnTo>
                      <a:pt x="112" y="183"/>
                    </a:lnTo>
                    <a:lnTo>
                      <a:pt x="110" y="183"/>
                    </a:lnTo>
                    <a:lnTo>
                      <a:pt x="109" y="182"/>
                    </a:lnTo>
                    <a:lnTo>
                      <a:pt x="109" y="183"/>
                    </a:lnTo>
                    <a:lnTo>
                      <a:pt x="108" y="183"/>
                    </a:lnTo>
                    <a:lnTo>
                      <a:pt x="107" y="183"/>
                    </a:lnTo>
                    <a:lnTo>
                      <a:pt x="106" y="185"/>
                    </a:lnTo>
                    <a:lnTo>
                      <a:pt x="104" y="185"/>
                    </a:lnTo>
                    <a:lnTo>
                      <a:pt x="103" y="185"/>
                    </a:lnTo>
                    <a:lnTo>
                      <a:pt x="103" y="183"/>
                    </a:lnTo>
                    <a:lnTo>
                      <a:pt x="103" y="182"/>
                    </a:lnTo>
                    <a:lnTo>
                      <a:pt x="103" y="181"/>
                    </a:lnTo>
                    <a:lnTo>
                      <a:pt x="103" y="180"/>
                    </a:lnTo>
                    <a:lnTo>
                      <a:pt x="102" y="180"/>
                    </a:lnTo>
                    <a:lnTo>
                      <a:pt x="101" y="179"/>
                    </a:lnTo>
                    <a:lnTo>
                      <a:pt x="100" y="179"/>
                    </a:lnTo>
                    <a:lnTo>
                      <a:pt x="100" y="177"/>
                    </a:lnTo>
                    <a:lnTo>
                      <a:pt x="100" y="176"/>
                    </a:lnTo>
                    <a:lnTo>
                      <a:pt x="100" y="175"/>
                    </a:lnTo>
                    <a:lnTo>
                      <a:pt x="98" y="174"/>
                    </a:lnTo>
                    <a:lnTo>
                      <a:pt x="98" y="175"/>
                    </a:lnTo>
                    <a:lnTo>
                      <a:pt x="97" y="175"/>
                    </a:lnTo>
                    <a:lnTo>
                      <a:pt x="96" y="176"/>
                    </a:lnTo>
                    <a:lnTo>
                      <a:pt x="96" y="177"/>
                    </a:lnTo>
                    <a:lnTo>
                      <a:pt x="95" y="177"/>
                    </a:lnTo>
                    <a:lnTo>
                      <a:pt x="95" y="179"/>
                    </a:lnTo>
                    <a:lnTo>
                      <a:pt x="94" y="179"/>
                    </a:lnTo>
                    <a:lnTo>
                      <a:pt x="94" y="180"/>
                    </a:lnTo>
                    <a:lnTo>
                      <a:pt x="92" y="181"/>
                    </a:lnTo>
                    <a:lnTo>
                      <a:pt x="91" y="181"/>
                    </a:lnTo>
                    <a:lnTo>
                      <a:pt x="91" y="182"/>
                    </a:lnTo>
                    <a:lnTo>
                      <a:pt x="90" y="182"/>
                    </a:lnTo>
                    <a:lnTo>
                      <a:pt x="90" y="181"/>
                    </a:lnTo>
                    <a:lnTo>
                      <a:pt x="89" y="181"/>
                    </a:lnTo>
                    <a:lnTo>
                      <a:pt x="89" y="182"/>
                    </a:lnTo>
                    <a:lnTo>
                      <a:pt x="88" y="183"/>
                    </a:lnTo>
                    <a:lnTo>
                      <a:pt x="88" y="185"/>
                    </a:lnTo>
                    <a:lnTo>
                      <a:pt x="86" y="186"/>
                    </a:lnTo>
                    <a:lnTo>
                      <a:pt x="85" y="186"/>
                    </a:lnTo>
                    <a:lnTo>
                      <a:pt x="84" y="186"/>
                    </a:lnTo>
                    <a:lnTo>
                      <a:pt x="83" y="185"/>
                    </a:lnTo>
                    <a:lnTo>
                      <a:pt x="83" y="183"/>
                    </a:lnTo>
                    <a:lnTo>
                      <a:pt x="82" y="183"/>
                    </a:lnTo>
                    <a:lnTo>
                      <a:pt x="80" y="183"/>
                    </a:lnTo>
                    <a:lnTo>
                      <a:pt x="80" y="182"/>
                    </a:lnTo>
                    <a:lnTo>
                      <a:pt x="80" y="181"/>
                    </a:lnTo>
                    <a:lnTo>
                      <a:pt x="80" y="180"/>
                    </a:lnTo>
                    <a:lnTo>
                      <a:pt x="80" y="179"/>
                    </a:lnTo>
                    <a:lnTo>
                      <a:pt x="79" y="179"/>
                    </a:lnTo>
                    <a:lnTo>
                      <a:pt x="78" y="179"/>
                    </a:lnTo>
                    <a:lnTo>
                      <a:pt x="78" y="177"/>
                    </a:lnTo>
                    <a:lnTo>
                      <a:pt x="78" y="176"/>
                    </a:lnTo>
                    <a:lnTo>
                      <a:pt x="78" y="175"/>
                    </a:lnTo>
                    <a:lnTo>
                      <a:pt x="79" y="175"/>
                    </a:lnTo>
                    <a:lnTo>
                      <a:pt x="78" y="174"/>
                    </a:lnTo>
                    <a:lnTo>
                      <a:pt x="77" y="173"/>
                    </a:lnTo>
                    <a:lnTo>
                      <a:pt x="76" y="173"/>
                    </a:lnTo>
                    <a:lnTo>
                      <a:pt x="76" y="171"/>
                    </a:lnTo>
                    <a:lnTo>
                      <a:pt x="74" y="170"/>
                    </a:lnTo>
                    <a:lnTo>
                      <a:pt x="73" y="169"/>
                    </a:lnTo>
                    <a:lnTo>
                      <a:pt x="73" y="168"/>
                    </a:lnTo>
                    <a:lnTo>
                      <a:pt x="73" y="167"/>
                    </a:lnTo>
                    <a:lnTo>
                      <a:pt x="74" y="165"/>
                    </a:lnTo>
                    <a:lnTo>
                      <a:pt x="73" y="165"/>
                    </a:lnTo>
                    <a:lnTo>
                      <a:pt x="71" y="164"/>
                    </a:lnTo>
                    <a:lnTo>
                      <a:pt x="72" y="163"/>
                    </a:lnTo>
                    <a:lnTo>
                      <a:pt x="72" y="162"/>
                    </a:lnTo>
                    <a:lnTo>
                      <a:pt x="71" y="162"/>
                    </a:lnTo>
                    <a:lnTo>
                      <a:pt x="71" y="161"/>
                    </a:lnTo>
                    <a:lnTo>
                      <a:pt x="70" y="159"/>
                    </a:lnTo>
                    <a:lnTo>
                      <a:pt x="70" y="158"/>
                    </a:lnTo>
                    <a:lnTo>
                      <a:pt x="68" y="158"/>
                    </a:lnTo>
                    <a:lnTo>
                      <a:pt x="67" y="156"/>
                    </a:lnTo>
                    <a:lnTo>
                      <a:pt x="67" y="155"/>
                    </a:lnTo>
                    <a:lnTo>
                      <a:pt x="67" y="153"/>
                    </a:lnTo>
                    <a:lnTo>
                      <a:pt x="67" y="152"/>
                    </a:lnTo>
                    <a:lnTo>
                      <a:pt x="67" y="151"/>
                    </a:lnTo>
                    <a:lnTo>
                      <a:pt x="67" y="150"/>
                    </a:lnTo>
                    <a:lnTo>
                      <a:pt x="67" y="149"/>
                    </a:lnTo>
                    <a:lnTo>
                      <a:pt x="67" y="147"/>
                    </a:lnTo>
                    <a:lnTo>
                      <a:pt x="67" y="146"/>
                    </a:lnTo>
                    <a:lnTo>
                      <a:pt x="66" y="146"/>
                    </a:lnTo>
                    <a:lnTo>
                      <a:pt x="66" y="145"/>
                    </a:lnTo>
                    <a:lnTo>
                      <a:pt x="66" y="144"/>
                    </a:lnTo>
                    <a:lnTo>
                      <a:pt x="65" y="144"/>
                    </a:lnTo>
                    <a:lnTo>
                      <a:pt x="65" y="143"/>
                    </a:lnTo>
                    <a:lnTo>
                      <a:pt x="64" y="143"/>
                    </a:lnTo>
                    <a:lnTo>
                      <a:pt x="62" y="141"/>
                    </a:lnTo>
                    <a:lnTo>
                      <a:pt x="61" y="143"/>
                    </a:lnTo>
                    <a:lnTo>
                      <a:pt x="60" y="144"/>
                    </a:lnTo>
                    <a:lnTo>
                      <a:pt x="59" y="144"/>
                    </a:lnTo>
                    <a:lnTo>
                      <a:pt x="58" y="146"/>
                    </a:lnTo>
                    <a:lnTo>
                      <a:pt x="56" y="146"/>
                    </a:lnTo>
                    <a:lnTo>
                      <a:pt x="56" y="147"/>
                    </a:lnTo>
                    <a:lnTo>
                      <a:pt x="55" y="149"/>
                    </a:lnTo>
                    <a:lnTo>
                      <a:pt x="54" y="149"/>
                    </a:lnTo>
                    <a:lnTo>
                      <a:pt x="53" y="150"/>
                    </a:lnTo>
                    <a:lnTo>
                      <a:pt x="52" y="150"/>
                    </a:lnTo>
                    <a:lnTo>
                      <a:pt x="50" y="150"/>
                    </a:lnTo>
                    <a:lnTo>
                      <a:pt x="50" y="151"/>
                    </a:lnTo>
                    <a:lnTo>
                      <a:pt x="49" y="152"/>
                    </a:lnTo>
                    <a:lnTo>
                      <a:pt x="49" y="153"/>
                    </a:lnTo>
                    <a:lnTo>
                      <a:pt x="49" y="155"/>
                    </a:lnTo>
                    <a:lnTo>
                      <a:pt x="48" y="155"/>
                    </a:lnTo>
                    <a:lnTo>
                      <a:pt x="47" y="155"/>
                    </a:lnTo>
                    <a:lnTo>
                      <a:pt x="47" y="153"/>
                    </a:lnTo>
                    <a:lnTo>
                      <a:pt x="46" y="153"/>
                    </a:lnTo>
                    <a:lnTo>
                      <a:pt x="46" y="155"/>
                    </a:lnTo>
                    <a:lnTo>
                      <a:pt x="43" y="155"/>
                    </a:lnTo>
                    <a:lnTo>
                      <a:pt x="42" y="155"/>
                    </a:lnTo>
                    <a:lnTo>
                      <a:pt x="42" y="153"/>
                    </a:lnTo>
                    <a:lnTo>
                      <a:pt x="41" y="153"/>
                    </a:lnTo>
                    <a:lnTo>
                      <a:pt x="40" y="153"/>
                    </a:lnTo>
                    <a:lnTo>
                      <a:pt x="38" y="155"/>
                    </a:lnTo>
                    <a:lnTo>
                      <a:pt x="37" y="153"/>
                    </a:lnTo>
                    <a:lnTo>
                      <a:pt x="35" y="153"/>
                    </a:lnTo>
                    <a:lnTo>
                      <a:pt x="35" y="155"/>
                    </a:lnTo>
                    <a:lnTo>
                      <a:pt x="34" y="156"/>
                    </a:lnTo>
                    <a:lnTo>
                      <a:pt x="32" y="155"/>
                    </a:lnTo>
                    <a:lnTo>
                      <a:pt x="32" y="156"/>
                    </a:lnTo>
                    <a:lnTo>
                      <a:pt x="31" y="155"/>
                    </a:lnTo>
                    <a:lnTo>
                      <a:pt x="31" y="153"/>
                    </a:lnTo>
                    <a:lnTo>
                      <a:pt x="31" y="152"/>
                    </a:lnTo>
                    <a:lnTo>
                      <a:pt x="32" y="151"/>
                    </a:lnTo>
                    <a:lnTo>
                      <a:pt x="34" y="150"/>
                    </a:lnTo>
                    <a:lnTo>
                      <a:pt x="34" y="149"/>
                    </a:lnTo>
                    <a:lnTo>
                      <a:pt x="34" y="147"/>
                    </a:lnTo>
                    <a:lnTo>
                      <a:pt x="35" y="146"/>
                    </a:lnTo>
                    <a:lnTo>
                      <a:pt x="35" y="145"/>
                    </a:lnTo>
                    <a:lnTo>
                      <a:pt x="36" y="144"/>
                    </a:lnTo>
                    <a:lnTo>
                      <a:pt x="35" y="144"/>
                    </a:lnTo>
                    <a:lnTo>
                      <a:pt x="34" y="143"/>
                    </a:lnTo>
                    <a:lnTo>
                      <a:pt x="32" y="143"/>
                    </a:lnTo>
                    <a:lnTo>
                      <a:pt x="31" y="141"/>
                    </a:lnTo>
                    <a:lnTo>
                      <a:pt x="31" y="140"/>
                    </a:lnTo>
                    <a:lnTo>
                      <a:pt x="30" y="139"/>
                    </a:lnTo>
                    <a:lnTo>
                      <a:pt x="30" y="138"/>
                    </a:lnTo>
                    <a:lnTo>
                      <a:pt x="31" y="137"/>
                    </a:lnTo>
                    <a:lnTo>
                      <a:pt x="32" y="137"/>
                    </a:lnTo>
                    <a:lnTo>
                      <a:pt x="34" y="137"/>
                    </a:lnTo>
                    <a:lnTo>
                      <a:pt x="34" y="135"/>
                    </a:lnTo>
                    <a:lnTo>
                      <a:pt x="35" y="134"/>
                    </a:lnTo>
                    <a:lnTo>
                      <a:pt x="35" y="133"/>
                    </a:lnTo>
                    <a:lnTo>
                      <a:pt x="36" y="133"/>
                    </a:lnTo>
                    <a:lnTo>
                      <a:pt x="35" y="132"/>
                    </a:lnTo>
                    <a:lnTo>
                      <a:pt x="36" y="132"/>
                    </a:lnTo>
                    <a:lnTo>
                      <a:pt x="36" y="131"/>
                    </a:lnTo>
                    <a:lnTo>
                      <a:pt x="36" y="129"/>
                    </a:lnTo>
                    <a:lnTo>
                      <a:pt x="36" y="128"/>
                    </a:lnTo>
                    <a:lnTo>
                      <a:pt x="37" y="127"/>
                    </a:lnTo>
                    <a:lnTo>
                      <a:pt x="37" y="126"/>
                    </a:lnTo>
                    <a:lnTo>
                      <a:pt x="37" y="125"/>
                    </a:lnTo>
                    <a:lnTo>
                      <a:pt x="36" y="123"/>
                    </a:lnTo>
                    <a:lnTo>
                      <a:pt x="37" y="122"/>
                    </a:lnTo>
                    <a:lnTo>
                      <a:pt x="37" y="121"/>
                    </a:lnTo>
                    <a:lnTo>
                      <a:pt x="37" y="120"/>
                    </a:lnTo>
                    <a:lnTo>
                      <a:pt x="37" y="119"/>
                    </a:lnTo>
                    <a:lnTo>
                      <a:pt x="38" y="117"/>
                    </a:lnTo>
                    <a:lnTo>
                      <a:pt x="38" y="116"/>
                    </a:lnTo>
                    <a:lnTo>
                      <a:pt x="38" y="115"/>
                    </a:lnTo>
                    <a:lnTo>
                      <a:pt x="37" y="114"/>
                    </a:lnTo>
                    <a:lnTo>
                      <a:pt x="37" y="113"/>
                    </a:lnTo>
                    <a:lnTo>
                      <a:pt x="36" y="111"/>
                    </a:lnTo>
                    <a:lnTo>
                      <a:pt x="36" y="110"/>
                    </a:lnTo>
                    <a:lnTo>
                      <a:pt x="36" y="109"/>
                    </a:lnTo>
                    <a:lnTo>
                      <a:pt x="36" y="108"/>
                    </a:lnTo>
                    <a:lnTo>
                      <a:pt x="36" y="107"/>
                    </a:lnTo>
                    <a:lnTo>
                      <a:pt x="35" y="107"/>
                    </a:lnTo>
                    <a:lnTo>
                      <a:pt x="34" y="107"/>
                    </a:lnTo>
                    <a:lnTo>
                      <a:pt x="32" y="108"/>
                    </a:lnTo>
                    <a:lnTo>
                      <a:pt x="31" y="108"/>
                    </a:lnTo>
                    <a:lnTo>
                      <a:pt x="30" y="108"/>
                    </a:lnTo>
                    <a:lnTo>
                      <a:pt x="29" y="107"/>
                    </a:lnTo>
                    <a:lnTo>
                      <a:pt x="28" y="107"/>
                    </a:lnTo>
                    <a:lnTo>
                      <a:pt x="26" y="107"/>
                    </a:lnTo>
                    <a:lnTo>
                      <a:pt x="26" y="105"/>
                    </a:lnTo>
                    <a:lnTo>
                      <a:pt x="24" y="105"/>
                    </a:lnTo>
                    <a:lnTo>
                      <a:pt x="23" y="105"/>
                    </a:lnTo>
                    <a:lnTo>
                      <a:pt x="22" y="105"/>
                    </a:lnTo>
                    <a:lnTo>
                      <a:pt x="22" y="107"/>
                    </a:lnTo>
                    <a:lnTo>
                      <a:pt x="20" y="108"/>
                    </a:lnTo>
                    <a:lnTo>
                      <a:pt x="20" y="109"/>
                    </a:lnTo>
                    <a:lnTo>
                      <a:pt x="19" y="109"/>
                    </a:lnTo>
                    <a:lnTo>
                      <a:pt x="19" y="110"/>
                    </a:lnTo>
                    <a:lnTo>
                      <a:pt x="18" y="109"/>
                    </a:lnTo>
                    <a:lnTo>
                      <a:pt x="18" y="108"/>
                    </a:lnTo>
                    <a:lnTo>
                      <a:pt x="17" y="105"/>
                    </a:lnTo>
                    <a:lnTo>
                      <a:pt x="16" y="104"/>
                    </a:lnTo>
                    <a:lnTo>
                      <a:pt x="14" y="103"/>
                    </a:lnTo>
                    <a:lnTo>
                      <a:pt x="13" y="103"/>
                    </a:lnTo>
                    <a:lnTo>
                      <a:pt x="11" y="103"/>
                    </a:lnTo>
                    <a:lnTo>
                      <a:pt x="10" y="103"/>
                    </a:lnTo>
                    <a:lnTo>
                      <a:pt x="7" y="102"/>
                    </a:lnTo>
                    <a:lnTo>
                      <a:pt x="5" y="101"/>
                    </a:lnTo>
                    <a:lnTo>
                      <a:pt x="4" y="99"/>
                    </a:lnTo>
                    <a:lnTo>
                      <a:pt x="2" y="98"/>
                    </a:lnTo>
                    <a:lnTo>
                      <a:pt x="1" y="97"/>
                    </a:lnTo>
                    <a:lnTo>
                      <a:pt x="0" y="96"/>
                    </a:lnTo>
                    <a:lnTo>
                      <a:pt x="1" y="95"/>
                    </a:lnTo>
                    <a:lnTo>
                      <a:pt x="4" y="93"/>
                    </a:lnTo>
                    <a:lnTo>
                      <a:pt x="5" y="92"/>
                    </a:lnTo>
                    <a:lnTo>
                      <a:pt x="7" y="90"/>
                    </a:lnTo>
                    <a:lnTo>
                      <a:pt x="7" y="89"/>
                    </a:lnTo>
                    <a:lnTo>
                      <a:pt x="6" y="86"/>
                    </a:lnTo>
                    <a:lnTo>
                      <a:pt x="6" y="85"/>
                    </a:lnTo>
                    <a:lnTo>
                      <a:pt x="7" y="86"/>
                    </a:lnTo>
                    <a:lnTo>
                      <a:pt x="8" y="85"/>
                    </a:lnTo>
                    <a:lnTo>
                      <a:pt x="10" y="84"/>
                    </a:lnTo>
                    <a:lnTo>
                      <a:pt x="10" y="83"/>
                    </a:lnTo>
                    <a:lnTo>
                      <a:pt x="10" y="81"/>
                    </a:lnTo>
                    <a:lnTo>
                      <a:pt x="11" y="81"/>
                    </a:lnTo>
                    <a:lnTo>
                      <a:pt x="13" y="80"/>
                    </a:lnTo>
                    <a:lnTo>
                      <a:pt x="16" y="79"/>
                    </a:lnTo>
                    <a:lnTo>
                      <a:pt x="16" y="77"/>
                    </a:lnTo>
                    <a:lnTo>
                      <a:pt x="16" y="75"/>
                    </a:lnTo>
                    <a:lnTo>
                      <a:pt x="17" y="77"/>
                    </a:lnTo>
                    <a:lnTo>
                      <a:pt x="17" y="75"/>
                    </a:lnTo>
                    <a:lnTo>
                      <a:pt x="19" y="73"/>
                    </a:lnTo>
                    <a:lnTo>
                      <a:pt x="20" y="72"/>
                    </a:lnTo>
                    <a:lnTo>
                      <a:pt x="20" y="71"/>
                    </a:lnTo>
                    <a:lnTo>
                      <a:pt x="22" y="71"/>
                    </a:lnTo>
                    <a:lnTo>
                      <a:pt x="22" y="69"/>
                    </a:lnTo>
                    <a:lnTo>
                      <a:pt x="20" y="67"/>
                    </a:lnTo>
                    <a:lnTo>
                      <a:pt x="19" y="66"/>
                    </a:lnTo>
                    <a:lnTo>
                      <a:pt x="19" y="63"/>
                    </a:lnTo>
                    <a:lnTo>
                      <a:pt x="20" y="62"/>
                    </a:lnTo>
                    <a:lnTo>
                      <a:pt x="20" y="60"/>
                    </a:lnTo>
                    <a:lnTo>
                      <a:pt x="23" y="57"/>
                    </a:lnTo>
                    <a:lnTo>
                      <a:pt x="35" y="68"/>
                    </a:lnTo>
                    <a:lnTo>
                      <a:pt x="38" y="68"/>
                    </a:lnTo>
                    <a:lnTo>
                      <a:pt x="41" y="72"/>
                    </a:lnTo>
                    <a:lnTo>
                      <a:pt x="44" y="75"/>
                    </a:lnTo>
                    <a:lnTo>
                      <a:pt x="48" y="79"/>
                    </a:lnTo>
                    <a:lnTo>
                      <a:pt x="52" y="80"/>
                    </a:lnTo>
                    <a:lnTo>
                      <a:pt x="54" y="81"/>
                    </a:lnTo>
                    <a:lnTo>
                      <a:pt x="55" y="81"/>
                    </a:lnTo>
                    <a:lnTo>
                      <a:pt x="56" y="81"/>
                    </a:lnTo>
                    <a:lnTo>
                      <a:pt x="60" y="80"/>
                    </a:lnTo>
                    <a:lnTo>
                      <a:pt x="62" y="79"/>
                    </a:lnTo>
                    <a:lnTo>
                      <a:pt x="67" y="77"/>
                    </a:lnTo>
                    <a:lnTo>
                      <a:pt x="68" y="74"/>
                    </a:lnTo>
                    <a:lnTo>
                      <a:pt x="68" y="73"/>
                    </a:lnTo>
                    <a:lnTo>
                      <a:pt x="68" y="72"/>
                    </a:lnTo>
                    <a:lnTo>
                      <a:pt x="70" y="71"/>
                    </a:lnTo>
                    <a:lnTo>
                      <a:pt x="70" y="69"/>
                    </a:lnTo>
                    <a:lnTo>
                      <a:pt x="71" y="68"/>
                    </a:lnTo>
                    <a:lnTo>
                      <a:pt x="72" y="67"/>
                    </a:lnTo>
                    <a:lnTo>
                      <a:pt x="73" y="67"/>
                    </a:lnTo>
                    <a:lnTo>
                      <a:pt x="73" y="68"/>
                    </a:lnTo>
                    <a:lnTo>
                      <a:pt x="73" y="69"/>
                    </a:lnTo>
                    <a:lnTo>
                      <a:pt x="74" y="69"/>
                    </a:lnTo>
                    <a:lnTo>
                      <a:pt x="76" y="71"/>
                    </a:lnTo>
                    <a:lnTo>
                      <a:pt x="77" y="71"/>
                    </a:lnTo>
                    <a:lnTo>
                      <a:pt x="78" y="69"/>
                    </a:lnTo>
                    <a:lnTo>
                      <a:pt x="79" y="69"/>
                    </a:lnTo>
                    <a:lnTo>
                      <a:pt x="80" y="69"/>
                    </a:lnTo>
                    <a:lnTo>
                      <a:pt x="80" y="68"/>
                    </a:lnTo>
                    <a:lnTo>
                      <a:pt x="80" y="67"/>
                    </a:lnTo>
                    <a:lnTo>
                      <a:pt x="82" y="66"/>
                    </a:lnTo>
                    <a:lnTo>
                      <a:pt x="82" y="65"/>
                    </a:lnTo>
                    <a:lnTo>
                      <a:pt x="83" y="65"/>
                    </a:lnTo>
                    <a:lnTo>
                      <a:pt x="83" y="63"/>
                    </a:lnTo>
                    <a:lnTo>
                      <a:pt x="83" y="62"/>
                    </a:lnTo>
                    <a:lnTo>
                      <a:pt x="82" y="61"/>
                    </a:lnTo>
                    <a:lnTo>
                      <a:pt x="82" y="60"/>
                    </a:lnTo>
                    <a:lnTo>
                      <a:pt x="83" y="59"/>
                    </a:lnTo>
                    <a:lnTo>
                      <a:pt x="82" y="59"/>
                    </a:lnTo>
                    <a:lnTo>
                      <a:pt x="83" y="59"/>
                    </a:lnTo>
                    <a:lnTo>
                      <a:pt x="83" y="57"/>
                    </a:lnTo>
                    <a:lnTo>
                      <a:pt x="83" y="56"/>
                    </a:lnTo>
                    <a:lnTo>
                      <a:pt x="83" y="55"/>
                    </a:lnTo>
                    <a:lnTo>
                      <a:pt x="83" y="54"/>
                    </a:lnTo>
                    <a:lnTo>
                      <a:pt x="83" y="53"/>
                    </a:lnTo>
                    <a:lnTo>
                      <a:pt x="82" y="51"/>
                    </a:lnTo>
                    <a:lnTo>
                      <a:pt x="83" y="51"/>
                    </a:lnTo>
                    <a:lnTo>
                      <a:pt x="83" y="50"/>
                    </a:lnTo>
                    <a:lnTo>
                      <a:pt x="83" y="49"/>
                    </a:lnTo>
                    <a:lnTo>
                      <a:pt x="83" y="48"/>
                    </a:lnTo>
                    <a:lnTo>
                      <a:pt x="84" y="48"/>
                    </a:lnTo>
                    <a:lnTo>
                      <a:pt x="84" y="47"/>
                    </a:lnTo>
                    <a:lnTo>
                      <a:pt x="85" y="45"/>
                    </a:lnTo>
                    <a:lnTo>
                      <a:pt x="85" y="44"/>
                    </a:lnTo>
                    <a:lnTo>
                      <a:pt x="85" y="43"/>
                    </a:lnTo>
                    <a:lnTo>
                      <a:pt x="86" y="42"/>
                    </a:lnTo>
                    <a:lnTo>
                      <a:pt x="85" y="41"/>
                    </a:lnTo>
                    <a:lnTo>
                      <a:pt x="85" y="39"/>
                    </a:lnTo>
                    <a:lnTo>
                      <a:pt x="85" y="38"/>
                    </a:lnTo>
                    <a:lnTo>
                      <a:pt x="85" y="39"/>
                    </a:lnTo>
                    <a:lnTo>
                      <a:pt x="85" y="38"/>
                    </a:lnTo>
                    <a:lnTo>
                      <a:pt x="88" y="33"/>
                    </a:lnTo>
                    <a:lnTo>
                      <a:pt x="88" y="32"/>
                    </a:lnTo>
                    <a:lnTo>
                      <a:pt x="88" y="31"/>
                    </a:lnTo>
                    <a:lnTo>
                      <a:pt x="88" y="30"/>
                    </a:lnTo>
                    <a:lnTo>
                      <a:pt x="88" y="29"/>
                    </a:lnTo>
                    <a:lnTo>
                      <a:pt x="86" y="29"/>
                    </a:lnTo>
                    <a:lnTo>
                      <a:pt x="86" y="27"/>
                    </a:lnTo>
                    <a:lnTo>
                      <a:pt x="85" y="26"/>
                    </a:lnTo>
                    <a:lnTo>
                      <a:pt x="85" y="25"/>
                    </a:lnTo>
                    <a:lnTo>
                      <a:pt x="88" y="26"/>
                    </a:lnTo>
                    <a:lnTo>
                      <a:pt x="88" y="27"/>
                    </a:lnTo>
                    <a:lnTo>
                      <a:pt x="89" y="27"/>
                    </a:lnTo>
                    <a:lnTo>
                      <a:pt x="89" y="29"/>
                    </a:lnTo>
                    <a:lnTo>
                      <a:pt x="90" y="29"/>
                    </a:lnTo>
                    <a:lnTo>
                      <a:pt x="91" y="29"/>
                    </a:lnTo>
                    <a:lnTo>
                      <a:pt x="95" y="27"/>
                    </a:lnTo>
                    <a:lnTo>
                      <a:pt x="96" y="26"/>
                    </a:lnTo>
                    <a:lnTo>
                      <a:pt x="97" y="25"/>
                    </a:lnTo>
                    <a:lnTo>
                      <a:pt x="98" y="25"/>
                    </a:lnTo>
                    <a:lnTo>
                      <a:pt x="98" y="24"/>
                    </a:lnTo>
                    <a:lnTo>
                      <a:pt x="100" y="24"/>
                    </a:lnTo>
                    <a:lnTo>
                      <a:pt x="101" y="24"/>
                    </a:lnTo>
                    <a:lnTo>
                      <a:pt x="102" y="23"/>
                    </a:lnTo>
                    <a:lnTo>
                      <a:pt x="103" y="23"/>
                    </a:lnTo>
                    <a:lnTo>
                      <a:pt x="103" y="21"/>
                    </a:lnTo>
                    <a:lnTo>
                      <a:pt x="104" y="20"/>
                    </a:lnTo>
                    <a:lnTo>
                      <a:pt x="104" y="19"/>
                    </a:lnTo>
                    <a:lnTo>
                      <a:pt x="106" y="19"/>
                    </a:lnTo>
                    <a:lnTo>
                      <a:pt x="107" y="19"/>
                    </a:lnTo>
                    <a:lnTo>
                      <a:pt x="108" y="18"/>
                    </a:lnTo>
                    <a:lnTo>
                      <a:pt x="109" y="19"/>
                    </a:lnTo>
                    <a:lnTo>
                      <a:pt x="110" y="20"/>
                    </a:lnTo>
                    <a:lnTo>
                      <a:pt x="112" y="20"/>
                    </a:lnTo>
                    <a:lnTo>
                      <a:pt x="113" y="21"/>
                    </a:lnTo>
                    <a:lnTo>
                      <a:pt x="114" y="23"/>
                    </a:lnTo>
                    <a:lnTo>
                      <a:pt x="115" y="23"/>
                    </a:lnTo>
                    <a:lnTo>
                      <a:pt x="115" y="24"/>
                    </a:lnTo>
                    <a:lnTo>
                      <a:pt x="115" y="25"/>
                    </a:lnTo>
                    <a:lnTo>
                      <a:pt x="116" y="25"/>
                    </a:lnTo>
                    <a:lnTo>
                      <a:pt x="116" y="26"/>
                    </a:lnTo>
                    <a:lnTo>
                      <a:pt x="116" y="27"/>
                    </a:lnTo>
                    <a:lnTo>
                      <a:pt x="116" y="29"/>
                    </a:lnTo>
                    <a:lnTo>
                      <a:pt x="118" y="31"/>
                    </a:lnTo>
                    <a:lnTo>
                      <a:pt x="118" y="32"/>
                    </a:lnTo>
                    <a:lnTo>
                      <a:pt x="119" y="33"/>
                    </a:lnTo>
                    <a:lnTo>
                      <a:pt x="119" y="36"/>
                    </a:lnTo>
                    <a:lnTo>
                      <a:pt x="119" y="37"/>
                    </a:lnTo>
                    <a:lnTo>
                      <a:pt x="118" y="38"/>
                    </a:lnTo>
                    <a:lnTo>
                      <a:pt x="120" y="39"/>
                    </a:lnTo>
                    <a:lnTo>
                      <a:pt x="122" y="39"/>
                    </a:lnTo>
                    <a:lnTo>
                      <a:pt x="124" y="39"/>
                    </a:lnTo>
                    <a:lnTo>
                      <a:pt x="125" y="39"/>
                    </a:lnTo>
                    <a:lnTo>
                      <a:pt x="125" y="38"/>
                    </a:lnTo>
                    <a:lnTo>
                      <a:pt x="126" y="38"/>
                    </a:lnTo>
                    <a:lnTo>
                      <a:pt x="127" y="37"/>
                    </a:lnTo>
                    <a:lnTo>
                      <a:pt x="128" y="37"/>
                    </a:lnTo>
                    <a:lnTo>
                      <a:pt x="130" y="36"/>
                    </a:lnTo>
                    <a:lnTo>
                      <a:pt x="131" y="36"/>
                    </a:lnTo>
                    <a:lnTo>
                      <a:pt x="131" y="35"/>
                    </a:lnTo>
                    <a:lnTo>
                      <a:pt x="132" y="35"/>
                    </a:lnTo>
                    <a:lnTo>
                      <a:pt x="132" y="33"/>
                    </a:lnTo>
                    <a:lnTo>
                      <a:pt x="131" y="33"/>
                    </a:lnTo>
                    <a:lnTo>
                      <a:pt x="131" y="32"/>
                    </a:lnTo>
                    <a:lnTo>
                      <a:pt x="131" y="31"/>
                    </a:lnTo>
                    <a:lnTo>
                      <a:pt x="131" y="30"/>
                    </a:lnTo>
                    <a:lnTo>
                      <a:pt x="131" y="29"/>
                    </a:lnTo>
                    <a:lnTo>
                      <a:pt x="131" y="27"/>
                    </a:lnTo>
                    <a:lnTo>
                      <a:pt x="131" y="26"/>
                    </a:lnTo>
                    <a:lnTo>
                      <a:pt x="130" y="25"/>
                    </a:lnTo>
                    <a:lnTo>
                      <a:pt x="130" y="24"/>
                    </a:lnTo>
                    <a:lnTo>
                      <a:pt x="128" y="24"/>
                    </a:lnTo>
                    <a:lnTo>
                      <a:pt x="128" y="23"/>
                    </a:lnTo>
                    <a:lnTo>
                      <a:pt x="128" y="21"/>
                    </a:lnTo>
                    <a:lnTo>
                      <a:pt x="128" y="20"/>
                    </a:lnTo>
                    <a:lnTo>
                      <a:pt x="130" y="20"/>
                    </a:lnTo>
                    <a:lnTo>
                      <a:pt x="130" y="19"/>
                    </a:lnTo>
                    <a:lnTo>
                      <a:pt x="131" y="19"/>
                    </a:lnTo>
                    <a:lnTo>
                      <a:pt x="131" y="18"/>
                    </a:lnTo>
                    <a:lnTo>
                      <a:pt x="132" y="17"/>
                    </a:lnTo>
                    <a:lnTo>
                      <a:pt x="132" y="15"/>
                    </a:lnTo>
                    <a:lnTo>
                      <a:pt x="133" y="15"/>
                    </a:lnTo>
                    <a:lnTo>
                      <a:pt x="133" y="14"/>
                    </a:lnTo>
                    <a:lnTo>
                      <a:pt x="134" y="14"/>
                    </a:lnTo>
                    <a:lnTo>
                      <a:pt x="136" y="14"/>
                    </a:lnTo>
                    <a:lnTo>
                      <a:pt x="136" y="13"/>
                    </a:lnTo>
                    <a:lnTo>
                      <a:pt x="136" y="12"/>
                    </a:lnTo>
                    <a:lnTo>
                      <a:pt x="137" y="12"/>
                    </a:lnTo>
                    <a:lnTo>
                      <a:pt x="137" y="11"/>
                    </a:lnTo>
                    <a:lnTo>
                      <a:pt x="137" y="9"/>
                    </a:lnTo>
                    <a:lnTo>
                      <a:pt x="137" y="8"/>
                    </a:lnTo>
                    <a:lnTo>
                      <a:pt x="137" y="7"/>
                    </a:lnTo>
                    <a:lnTo>
                      <a:pt x="136" y="6"/>
                    </a:lnTo>
                    <a:lnTo>
                      <a:pt x="136" y="5"/>
                    </a:lnTo>
                    <a:lnTo>
                      <a:pt x="136" y="3"/>
                    </a:lnTo>
                    <a:lnTo>
                      <a:pt x="136" y="2"/>
                    </a:lnTo>
                    <a:lnTo>
                      <a:pt x="136" y="1"/>
                    </a:lnTo>
                    <a:lnTo>
                      <a:pt x="137" y="1"/>
                    </a:lnTo>
                    <a:lnTo>
                      <a:pt x="138" y="1"/>
                    </a:lnTo>
                    <a:lnTo>
                      <a:pt x="138" y="0"/>
                    </a:lnTo>
                    <a:lnTo>
                      <a:pt x="139" y="0"/>
                    </a:lnTo>
                    <a:lnTo>
                      <a:pt x="140" y="0"/>
                    </a:lnTo>
                  </a:path>
                </a:pathLst>
              </a:custGeom>
              <a:ln>
                <a:headEnd/>
                <a:tailEnd/>
              </a:ln>
            </p:spPr>
            <p:style>
              <a:lnRef idx="1">
                <a:schemeClr val="accent3"/>
              </a:lnRef>
              <a:fillRef idx="0">
                <a:schemeClr val="accent3"/>
              </a:fillRef>
              <a:effectRef idx="0">
                <a:schemeClr val="accent3"/>
              </a:effectRef>
              <a:fontRef idx="minor">
                <a:schemeClr val="tx1"/>
              </a:fontRef>
            </p:style>
            <p:txBody>
              <a:bodyPr/>
              <a:lstStyle/>
              <a:p>
                <a:pPr latinLnBrk="0">
                  <a:defRPr/>
                </a:pPr>
                <a:endParaRPr kumimoji="0" lang="ko-KR" altLang="en-US" dirty="0"/>
              </a:p>
            </p:txBody>
          </p:sp>
          <p:sp>
            <p:nvSpPr>
              <p:cNvPr id="120878" name="Freeform 29"/>
              <p:cNvSpPr>
                <a:spLocks/>
              </p:cNvSpPr>
              <p:nvPr/>
            </p:nvSpPr>
            <p:spPr bwMode="auto">
              <a:xfrm>
                <a:off x="3033731" y="2787671"/>
                <a:ext cx="223838" cy="204787"/>
              </a:xfrm>
              <a:custGeom>
                <a:avLst/>
                <a:gdLst>
                  <a:gd name="T0" fmla="*/ 2147483647 w 155"/>
                  <a:gd name="T1" fmla="*/ 2147483647 h 186"/>
                  <a:gd name="T2" fmla="*/ 2147483647 w 155"/>
                  <a:gd name="T3" fmla="*/ 2147483647 h 186"/>
                  <a:gd name="T4" fmla="*/ 2147483647 w 155"/>
                  <a:gd name="T5" fmla="*/ 2147483647 h 186"/>
                  <a:gd name="T6" fmla="*/ 2147483647 w 155"/>
                  <a:gd name="T7" fmla="*/ 2147483647 h 186"/>
                  <a:gd name="T8" fmla="*/ 2147483647 w 155"/>
                  <a:gd name="T9" fmla="*/ 2147483647 h 186"/>
                  <a:gd name="T10" fmla="*/ 2147483647 w 155"/>
                  <a:gd name="T11" fmla="*/ 2147483647 h 186"/>
                  <a:gd name="T12" fmla="*/ 2147483647 w 155"/>
                  <a:gd name="T13" fmla="*/ 2147483647 h 186"/>
                  <a:gd name="T14" fmla="*/ 2147483647 w 155"/>
                  <a:gd name="T15" fmla="*/ 2147483647 h 186"/>
                  <a:gd name="T16" fmla="*/ 2147483647 w 155"/>
                  <a:gd name="T17" fmla="*/ 2147483647 h 186"/>
                  <a:gd name="T18" fmla="*/ 2147483647 w 155"/>
                  <a:gd name="T19" fmla="*/ 2147483647 h 186"/>
                  <a:gd name="T20" fmla="*/ 2147483647 w 155"/>
                  <a:gd name="T21" fmla="*/ 2147483647 h 186"/>
                  <a:gd name="T22" fmla="*/ 2147483647 w 155"/>
                  <a:gd name="T23" fmla="*/ 2147483647 h 186"/>
                  <a:gd name="T24" fmla="*/ 2147483647 w 155"/>
                  <a:gd name="T25" fmla="*/ 2147483647 h 186"/>
                  <a:gd name="T26" fmla="*/ 2147483647 w 155"/>
                  <a:gd name="T27" fmla="*/ 2147483647 h 186"/>
                  <a:gd name="T28" fmla="*/ 2147483647 w 155"/>
                  <a:gd name="T29" fmla="*/ 2147483647 h 186"/>
                  <a:gd name="T30" fmla="*/ 2147483647 w 155"/>
                  <a:gd name="T31" fmla="*/ 2147483647 h 186"/>
                  <a:gd name="T32" fmla="*/ 2147483647 w 155"/>
                  <a:gd name="T33" fmla="*/ 2147483647 h 186"/>
                  <a:gd name="T34" fmla="*/ 2147483647 w 155"/>
                  <a:gd name="T35" fmla="*/ 2147483647 h 186"/>
                  <a:gd name="T36" fmla="*/ 2147483647 w 155"/>
                  <a:gd name="T37" fmla="*/ 2147483647 h 186"/>
                  <a:gd name="T38" fmla="*/ 2147483647 w 155"/>
                  <a:gd name="T39" fmla="*/ 2147483647 h 186"/>
                  <a:gd name="T40" fmla="*/ 2147483647 w 155"/>
                  <a:gd name="T41" fmla="*/ 2147483647 h 186"/>
                  <a:gd name="T42" fmla="*/ 2147483647 w 155"/>
                  <a:gd name="T43" fmla="*/ 2147483647 h 186"/>
                  <a:gd name="T44" fmla="*/ 2147483647 w 155"/>
                  <a:gd name="T45" fmla="*/ 2147483647 h 186"/>
                  <a:gd name="T46" fmla="*/ 2147483647 w 155"/>
                  <a:gd name="T47" fmla="*/ 2147483647 h 186"/>
                  <a:gd name="T48" fmla="*/ 2147483647 w 155"/>
                  <a:gd name="T49" fmla="*/ 2147483647 h 186"/>
                  <a:gd name="T50" fmla="*/ 2147483647 w 155"/>
                  <a:gd name="T51" fmla="*/ 2147483647 h 186"/>
                  <a:gd name="T52" fmla="*/ 2147483647 w 155"/>
                  <a:gd name="T53" fmla="*/ 2147483647 h 186"/>
                  <a:gd name="T54" fmla="*/ 2147483647 w 155"/>
                  <a:gd name="T55" fmla="*/ 2147483647 h 186"/>
                  <a:gd name="T56" fmla="*/ 2147483647 w 155"/>
                  <a:gd name="T57" fmla="*/ 2147483647 h 186"/>
                  <a:gd name="T58" fmla="*/ 2147483647 w 155"/>
                  <a:gd name="T59" fmla="*/ 2147483647 h 186"/>
                  <a:gd name="T60" fmla="*/ 2147483647 w 155"/>
                  <a:gd name="T61" fmla="*/ 2147483647 h 186"/>
                  <a:gd name="T62" fmla="*/ 2147483647 w 155"/>
                  <a:gd name="T63" fmla="*/ 2147483647 h 186"/>
                  <a:gd name="T64" fmla="*/ 2147483647 w 155"/>
                  <a:gd name="T65" fmla="*/ 2147483647 h 186"/>
                  <a:gd name="T66" fmla="*/ 2147483647 w 155"/>
                  <a:gd name="T67" fmla="*/ 2147483647 h 186"/>
                  <a:gd name="T68" fmla="*/ 2147483647 w 155"/>
                  <a:gd name="T69" fmla="*/ 2147483647 h 186"/>
                  <a:gd name="T70" fmla="*/ 2147483647 w 155"/>
                  <a:gd name="T71" fmla="*/ 2147483647 h 186"/>
                  <a:gd name="T72" fmla="*/ 2147483647 w 155"/>
                  <a:gd name="T73" fmla="*/ 2147483647 h 186"/>
                  <a:gd name="T74" fmla="*/ 2147483647 w 155"/>
                  <a:gd name="T75" fmla="*/ 2147483647 h 186"/>
                  <a:gd name="T76" fmla="*/ 2147483647 w 155"/>
                  <a:gd name="T77" fmla="*/ 2147483647 h 186"/>
                  <a:gd name="T78" fmla="*/ 2147483647 w 155"/>
                  <a:gd name="T79" fmla="*/ 2147483647 h 186"/>
                  <a:gd name="T80" fmla="*/ 2147483647 w 155"/>
                  <a:gd name="T81" fmla="*/ 2147483647 h 186"/>
                  <a:gd name="T82" fmla="*/ 2147483647 w 155"/>
                  <a:gd name="T83" fmla="*/ 2147483647 h 186"/>
                  <a:gd name="T84" fmla="*/ 2147483647 w 155"/>
                  <a:gd name="T85" fmla="*/ 2147483647 h 186"/>
                  <a:gd name="T86" fmla="*/ 2147483647 w 155"/>
                  <a:gd name="T87" fmla="*/ 2147483647 h 186"/>
                  <a:gd name="T88" fmla="*/ 2147483647 w 155"/>
                  <a:gd name="T89" fmla="*/ 2147483647 h 186"/>
                  <a:gd name="T90" fmla="*/ 2147483647 w 155"/>
                  <a:gd name="T91" fmla="*/ 2147483647 h 186"/>
                  <a:gd name="T92" fmla="*/ 2147483647 w 155"/>
                  <a:gd name="T93" fmla="*/ 2147483647 h 186"/>
                  <a:gd name="T94" fmla="*/ 2147483647 w 155"/>
                  <a:gd name="T95" fmla="*/ 2147483647 h 186"/>
                  <a:gd name="T96" fmla="*/ 2147483647 w 155"/>
                  <a:gd name="T97" fmla="*/ 2147483647 h 186"/>
                  <a:gd name="T98" fmla="*/ 2147483647 w 155"/>
                  <a:gd name="T99" fmla="*/ 2147483647 h 186"/>
                  <a:gd name="T100" fmla="*/ 2147483647 w 155"/>
                  <a:gd name="T101" fmla="*/ 2147483647 h 186"/>
                  <a:gd name="T102" fmla="*/ 2147483647 w 155"/>
                  <a:gd name="T103" fmla="*/ 2147483647 h 186"/>
                  <a:gd name="T104" fmla="*/ 2147483647 w 155"/>
                  <a:gd name="T105" fmla="*/ 2147483647 h 186"/>
                  <a:gd name="T106" fmla="*/ 2147483647 w 155"/>
                  <a:gd name="T107" fmla="*/ 2147483647 h 186"/>
                  <a:gd name="T108" fmla="*/ 2147483647 w 155"/>
                  <a:gd name="T109" fmla="*/ 2147483647 h 186"/>
                  <a:gd name="T110" fmla="*/ 2147483647 w 155"/>
                  <a:gd name="T111" fmla="*/ 2147483647 h 186"/>
                  <a:gd name="T112" fmla="*/ 2147483647 w 155"/>
                  <a:gd name="T113" fmla="*/ 2147483647 h 186"/>
                  <a:gd name="T114" fmla="*/ 2147483647 w 155"/>
                  <a:gd name="T115" fmla="*/ 2147483647 h 186"/>
                  <a:gd name="T116" fmla="*/ 2147483647 w 155"/>
                  <a:gd name="T117" fmla="*/ 2147483647 h 186"/>
                  <a:gd name="T118" fmla="*/ 2147483647 w 155"/>
                  <a:gd name="T119" fmla="*/ 2147483647 h 186"/>
                  <a:gd name="T120" fmla="*/ 2147483647 w 155"/>
                  <a:gd name="T121" fmla="*/ 2147483647 h 186"/>
                  <a:gd name="T122" fmla="*/ 2147483647 w 155"/>
                  <a:gd name="T123" fmla="*/ 2147483647 h 186"/>
                  <a:gd name="T124" fmla="*/ 2147483647 w 155"/>
                  <a:gd name="T125" fmla="*/ 2147483647 h 18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155"/>
                  <a:gd name="T190" fmla="*/ 0 h 186"/>
                  <a:gd name="T191" fmla="*/ 155 w 155"/>
                  <a:gd name="T192" fmla="*/ 186 h 18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155" h="186">
                    <a:moveTo>
                      <a:pt x="140" y="0"/>
                    </a:moveTo>
                    <a:lnTo>
                      <a:pt x="139" y="0"/>
                    </a:lnTo>
                    <a:lnTo>
                      <a:pt x="138" y="0"/>
                    </a:lnTo>
                    <a:lnTo>
                      <a:pt x="138" y="1"/>
                    </a:lnTo>
                    <a:lnTo>
                      <a:pt x="137" y="1"/>
                    </a:lnTo>
                    <a:lnTo>
                      <a:pt x="136" y="1"/>
                    </a:lnTo>
                    <a:lnTo>
                      <a:pt x="136" y="2"/>
                    </a:lnTo>
                    <a:lnTo>
                      <a:pt x="136" y="3"/>
                    </a:lnTo>
                    <a:lnTo>
                      <a:pt x="136" y="5"/>
                    </a:lnTo>
                    <a:lnTo>
                      <a:pt x="136" y="6"/>
                    </a:lnTo>
                    <a:lnTo>
                      <a:pt x="137" y="7"/>
                    </a:lnTo>
                    <a:lnTo>
                      <a:pt x="137" y="8"/>
                    </a:lnTo>
                    <a:lnTo>
                      <a:pt x="137" y="9"/>
                    </a:lnTo>
                    <a:lnTo>
                      <a:pt x="137" y="11"/>
                    </a:lnTo>
                    <a:lnTo>
                      <a:pt x="137" y="12"/>
                    </a:lnTo>
                    <a:lnTo>
                      <a:pt x="136" y="12"/>
                    </a:lnTo>
                    <a:lnTo>
                      <a:pt x="136" y="13"/>
                    </a:lnTo>
                    <a:lnTo>
                      <a:pt x="136" y="14"/>
                    </a:lnTo>
                    <a:lnTo>
                      <a:pt x="134" y="14"/>
                    </a:lnTo>
                    <a:lnTo>
                      <a:pt x="133" y="14"/>
                    </a:lnTo>
                    <a:lnTo>
                      <a:pt x="133" y="15"/>
                    </a:lnTo>
                    <a:lnTo>
                      <a:pt x="132" y="15"/>
                    </a:lnTo>
                    <a:lnTo>
                      <a:pt x="132" y="17"/>
                    </a:lnTo>
                    <a:lnTo>
                      <a:pt x="131" y="18"/>
                    </a:lnTo>
                    <a:lnTo>
                      <a:pt x="131" y="19"/>
                    </a:lnTo>
                    <a:lnTo>
                      <a:pt x="130" y="19"/>
                    </a:lnTo>
                    <a:lnTo>
                      <a:pt x="130" y="20"/>
                    </a:lnTo>
                    <a:lnTo>
                      <a:pt x="128" y="20"/>
                    </a:lnTo>
                    <a:lnTo>
                      <a:pt x="128" y="21"/>
                    </a:lnTo>
                    <a:lnTo>
                      <a:pt x="128" y="23"/>
                    </a:lnTo>
                    <a:lnTo>
                      <a:pt x="128" y="24"/>
                    </a:lnTo>
                    <a:lnTo>
                      <a:pt x="130" y="24"/>
                    </a:lnTo>
                    <a:lnTo>
                      <a:pt x="130" y="25"/>
                    </a:lnTo>
                    <a:lnTo>
                      <a:pt x="131" y="26"/>
                    </a:lnTo>
                    <a:lnTo>
                      <a:pt x="131" y="27"/>
                    </a:lnTo>
                    <a:lnTo>
                      <a:pt x="131" y="29"/>
                    </a:lnTo>
                    <a:lnTo>
                      <a:pt x="131" y="30"/>
                    </a:lnTo>
                    <a:lnTo>
                      <a:pt x="131" y="31"/>
                    </a:lnTo>
                    <a:lnTo>
                      <a:pt x="131" y="32"/>
                    </a:lnTo>
                    <a:lnTo>
                      <a:pt x="131" y="33"/>
                    </a:lnTo>
                    <a:lnTo>
                      <a:pt x="132" y="33"/>
                    </a:lnTo>
                    <a:lnTo>
                      <a:pt x="132" y="35"/>
                    </a:lnTo>
                    <a:lnTo>
                      <a:pt x="131" y="35"/>
                    </a:lnTo>
                    <a:lnTo>
                      <a:pt x="131" y="36"/>
                    </a:lnTo>
                    <a:lnTo>
                      <a:pt x="130" y="36"/>
                    </a:lnTo>
                    <a:lnTo>
                      <a:pt x="128" y="37"/>
                    </a:lnTo>
                    <a:lnTo>
                      <a:pt x="127" y="37"/>
                    </a:lnTo>
                    <a:lnTo>
                      <a:pt x="126" y="38"/>
                    </a:lnTo>
                    <a:lnTo>
                      <a:pt x="125" y="38"/>
                    </a:lnTo>
                    <a:lnTo>
                      <a:pt x="125" y="39"/>
                    </a:lnTo>
                    <a:lnTo>
                      <a:pt x="124" y="39"/>
                    </a:lnTo>
                    <a:lnTo>
                      <a:pt x="122" y="39"/>
                    </a:lnTo>
                    <a:lnTo>
                      <a:pt x="120" y="39"/>
                    </a:lnTo>
                    <a:lnTo>
                      <a:pt x="118" y="38"/>
                    </a:lnTo>
                    <a:lnTo>
                      <a:pt x="119" y="37"/>
                    </a:lnTo>
                    <a:lnTo>
                      <a:pt x="119" y="36"/>
                    </a:lnTo>
                    <a:lnTo>
                      <a:pt x="119" y="33"/>
                    </a:lnTo>
                    <a:lnTo>
                      <a:pt x="118" y="32"/>
                    </a:lnTo>
                    <a:lnTo>
                      <a:pt x="118" y="31"/>
                    </a:lnTo>
                    <a:lnTo>
                      <a:pt x="116" y="29"/>
                    </a:lnTo>
                    <a:lnTo>
                      <a:pt x="116" y="27"/>
                    </a:lnTo>
                    <a:lnTo>
                      <a:pt x="116" y="26"/>
                    </a:lnTo>
                    <a:lnTo>
                      <a:pt x="116" y="25"/>
                    </a:lnTo>
                    <a:lnTo>
                      <a:pt x="115" y="25"/>
                    </a:lnTo>
                    <a:lnTo>
                      <a:pt x="115" y="24"/>
                    </a:lnTo>
                    <a:lnTo>
                      <a:pt x="115" y="23"/>
                    </a:lnTo>
                    <a:lnTo>
                      <a:pt x="114" y="23"/>
                    </a:lnTo>
                    <a:lnTo>
                      <a:pt x="113" y="21"/>
                    </a:lnTo>
                    <a:lnTo>
                      <a:pt x="112" y="20"/>
                    </a:lnTo>
                    <a:lnTo>
                      <a:pt x="110" y="20"/>
                    </a:lnTo>
                    <a:lnTo>
                      <a:pt x="109" y="19"/>
                    </a:lnTo>
                    <a:lnTo>
                      <a:pt x="108" y="18"/>
                    </a:lnTo>
                    <a:lnTo>
                      <a:pt x="107" y="19"/>
                    </a:lnTo>
                    <a:lnTo>
                      <a:pt x="106" y="19"/>
                    </a:lnTo>
                    <a:lnTo>
                      <a:pt x="104" y="19"/>
                    </a:lnTo>
                    <a:lnTo>
                      <a:pt x="104" y="20"/>
                    </a:lnTo>
                    <a:lnTo>
                      <a:pt x="103" y="21"/>
                    </a:lnTo>
                    <a:lnTo>
                      <a:pt x="103" y="23"/>
                    </a:lnTo>
                    <a:lnTo>
                      <a:pt x="102" y="23"/>
                    </a:lnTo>
                    <a:lnTo>
                      <a:pt x="101" y="24"/>
                    </a:lnTo>
                    <a:lnTo>
                      <a:pt x="100" y="24"/>
                    </a:lnTo>
                    <a:lnTo>
                      <a:pt x="98" y="24"/>
                    </a:lnTo>
                    <a:lnTo>
                      <a:pt x="98" y="25"/>
                    </a:lnTo>
                    <a:lnTo>
                      <a:pt x="97" y="25"/>
                    </a:lnTo>
                    <a:lnTo>
                      <a:pt x="96" y="26"/>
                    </a:lnTo>
                    <a:lnTo>
                      <a:pt x="95" y="27"/>
                    </a:lnTo>
                    <a:lnTo>
                      <a:pt x="91" y="29"/>
                    </a:lnTo>
                    <a:lnTo>
                      <a:pt x="90" y="29"/>
                    </a:lnTo>
                    <a:lnTo>
                      <a:pt x="89" y="29"/>
                    </a:lnTo>
                    <a:lnTo>
                      <a:pt x="89" y="27"/>
                    </a:lnTo>
                    <a:lnTo>
                      <a:pt x="88" y="27"/>
                    </a:lnTo>
                    <a:lnTo>
                      <a:pt x="88" y="26"/>
                    </a:lnTo>
                    <a:lnTo>
                      <a:pt x="85" y="25"/>
                    </a:lnTo>
                    <a:lnTo>
                      <a:pt x="85" y="26"/>
                    </a:lnTo>
                    <a:lnTo>
                      <a:pt x="86" y="27"/>
                    </a:lnTo>
                    <a:lnTo>
                      <a:pt x="86" y="29"/>
                    </a:lnTo>
                    <a:lnTo>
                      <a:pt x="88" y="29"/>
                    </a:lnTo>
                    <a:lnTo>
                      <a:pt x="88" y="30"/>
                    </a:lnTo>
                    <a:lnTo>
                      <a:pt x="88" y="31"/>
                    </a:lnTo>
                    <a:lnTo>
                      <a:pt x="88" y="32"/>
                    </a:lnTo>
                    <a:lnTo>
                      <a:pt x="88" y="33"/>
                    </a:lnTo>
                    <a:lnTo>
                      <a:pt x="85" y="38"/>
                    </a:lnTo>
                    <a:lnTo>
                      <a:pt x="85" y="39"/>
                    </a:lnTo>
                    <a:lnTo>
                      <a:pt x="85" y="38"/>
                    </a:lnTo>
                    <a:lnTo>
                      <a:pt x="85" y="39"/>
                    </a:lnTo>
                    <a:lnTo>
                      <a:pt x="85" y="41"/>
                    </a:lnTo>
                    <a:lnTo>
                      <a:pt x="86" y="42"/>
                    </a:lnTo>
                    <a:lnTo>
                      <a:pt x="85" y="43"/>
                    </a:lnTo>
                    <a:lnTo>
                      <a:pt x="85" y="44"/>
                    </a:lnTo>
                    <a:lnTo>
                      <a:pt x="85" y="45"/>
                    </a:lnTo>
                    <a:lnTo>
                      <a:pt x="84" y="47"/>
                    </a:lnTo>
                    <a:lnTo>
                      <a:pt x="84" y="48"/>
                    </a:lnTo>
                    <a:lnTo>
                      <a:pt x="83" y="48"/>
                    </a:lnTo>
                    <a:lnTo>
                      <a:pt x="83" y="49"/>
                    </a:lnTo>
                    <a:lnTo>
                      <a:pt x="83" y="50"/>
                    </a:lnTo>
                    <a:lnTo>
                      <a:pt x="83" y="51"/>
                    </a:lnTo>
                    <a:lnTo>
                      <a:pt x="82" y="51"/>
                    </a:lnTo>
                    <a:lnTo>
                      <a:pt x="83" y="53"/>
                    </a:lnTo>
                    <a:lnTo>
                      <a:pt x="83" y="54"/>
                    </a:lnTo>
                    <a:lnTo>
                      <a:pt x="83" y="55"/>
                    </a:lnTo>
                    <a:lnTo>
                      <a:pt x="83" y="56"/>
                    </a:lnTo>
                    <a:lnTo>
                      <a:pt x="83" y="57"/>
                    </a:lnTo>
                    <a:lnTo>
                      <a:pt x="83" y="59"/>
                    </a:lnTo>
                    <a:lnTo>
                      <a:pt x="82" y="59"/>
                    </a:lnTo>
                    <a:lnTo>
                      <a:pt x="83" y="59"/>
                    </a:lnTo>
                    <a:lnTo>
                      <a:pt x="82" y="60"/>
                    </a:lnTo>
                    <a:lnTo>
                      <a:pt x="82" y="61"/>
                    </a:lnTo>
                    <a:lnTo>
                      <a:pt x="83" y="62"/>
                    </a:lnTo>
                    <a:lnTo>
                      <a:pt x="83" y="63"/>
                    </a:lnTo>
                    <a:lnTo>
                      <a:pt x="83" y="65"/>
                    </a:lnTo>
                    <a:lnTo>
                      <a:pt x="82" y="65"/>
                    </a:lnTo>
                    <a:lnTo>
                      <a:pt x="82" y="66"/>
                    </a:lnTo>
                    <a:lnTo>
                      <a:pt x="80" y="67"/>
                    </a:lnTo>
                    <a:lnTo>
                      <a:pt x="80" y="68"/>
                    </a:lnTo>
                    <a:lnTo>
                      <a:pt x="80" y="69"/>
                    </a:lnTo>
                    <a:lnTo>
                      <a:pt x="79" y="69"/>
                    </a:lnTo>
                    <a:lnTo>
                      <a:pt x="78" y="69"/>
                    </a:lnTo>
                    <a:lnTo>
                      <a:pt x="77" y="71"/>
                    </a:lnTo>
                    <a:lnTo>
                      <a:pt x="76" y="71"/>
                    </a:lnTo>
                    <a:lnTo>
                      <a:pt x="74" y="69"/>
                    </a:lnTo>
                    <a:lnTo>
                      <a:pt x="73" y="69"/>
                    </a:lnTo>
                    <a:lnTo>
                      <a:pt x="73" y="68"/>
                    </a:lnTo>
                    <a:lnTo>
                      <a:pt x="73" y="67"/>
                    </a:lnTo>
                    <a:lnTo>
                      <a:pt x="72" y="67"/>
                    </a:lnTo>
                    <a:lnTo>
                      <a:pt x="71" y="68"/>
                    </a:lnTo>
                    <a:lnTo>
                      <a:pt x="70" y="69"/>
                    </a:lnTo>
                    <a:lnTo>
                      <a:pt x="70" y="71"/>
                    </a:lnTo>
                    <a:lnTo>
                      <a:pt x="68" y="72"/>
                    </a:lnTo>
                    <a:lnTo>
                      <a:pt x="68" y="73"/>
                    </a:lnTo>
                    <a:lnTo>
                      <a:pt x="68" y="74"/>
                    </a:lnTo>
                    <a:lnTo>
                      <a:pt x="67" y="77"/>
                    </a:lnTo>
                    <a:lnTo>
                      <a:pt x="62" y="79"/>
                    </a:lnTo>
                    <a:lnTo>
                      <a:pt x="60" y="80"/>
                    </a:lnTo>
                    <a:lnTo>
                      <a:pt x="56" y="81"/>
                    </a:lnTo>
                    <a:lnTo>
                      <a:pt x="55" y="81"/>
                    </a:lnTo>
                    <a:lnTo>
                      <a:pt x="54" y="81"/>
                    </a:lnTo>
                    <a:lnTo>
                      <a:pt x="52" y="80"/>
                    </a:lnTo>
                    <a:lnTo>
                      <a:pt x="48" y="79"/>
                    </a:lnTo>
                    <a:lnTo>
                      <a:pt x="44" y="75"/>
                    </a:lnTo>
                    <a:lnTo>
                      <a:pt x="41" y="72"/>
                    </a:lnTo>
                    <a:lnTo>
                      <a:pt x="38" y="68"/>
                    </a:lnTo>
                    <a:lnTo>
                      <a:pt x="35" y="68"/>
                    </a:lnTo>
                    <a:lnTo>
                      <a:pt x="23" y="57"/>
                    </a:lnTo>
                    <a:lnTo>
                      <a:pt x="20" y="60"/>
                    </a:lnTo>
                    <a:lnTo>
                      <a:pt x="20" y="62"/>
                    </a:lnTo>
                    <a:lnTo>
                      <a:pt x="19" y="63"/>
                    </a:lnTo>
                    <a:lnTo>
                      <a:pt x="19" y="66"/>
                    </a:lnTo>
                    <a:lnTo>
                      <a:pt x="20" y="67"/>
                    </a:lnTo>
                    <a:lnTo>
                      <a:pt x="22" y="69"/>
                    </a:lnTo>
                    <a:lnTo>
                      <a:pt x="22" y="71"/>
                    </a:lnTo>
                    <a:lnTo>
                      <a:pt x="20" y="71"/>
                    </a:lnTo>
                    <a:lnTo>
                      <a:pt x="20" y="72"/>
                    </a:lnTo>
                    <a:lnTo>
                      <a:pt x="19" y="73"/>
                    </a:lnTo>
                    <a:lnTo>
                      <a:pt x="17" y="75"/>
                    </a:lnTo>
                    <a:lnTo>
                      <a:pt x="17" y="77"/>
                    </a:lnTo>
                    <a:lnTo>
                      <a:pt x="16" y="75"/>
                    </a:lnTo>
                    <a:lnTo>
                      <a:pt x="16" y="77"/>
                    </a:lnTo>
                    <a:lnTo>
                      <a:pt x="16" y="79"/>
                    </a:lnTo>
                    <a:lnTo>
                      <a:pt x="13" y="80"/>
                    </a:lnTo>
                    <a:lnTo>
                      <a:pt x="11" y="81"/>
                    </a:lnTo>
                    <a:lnTo>
                      <a:pt x="10" y="81"/>
                    </a:lnTo>
                    <a:lnTo>
                      <a:pt x="10" y="83"/>
                    </a:lnTo>
                    <a:lnTo>
                      <a:pt x="10" y="84"/>
                    </a:lnTo>
                    <a:lnTo>
                      <a:pt x="8" y="85"/>
                    </a:lnTo>
                    <a:lnTo>
                      <a:pt x="7" y="86"/>
                    </a:lnTo>
                    <a:lnTo>
                      <a:pt x="6" y="85"/>
                    </a:lnTo>
                    <a:lnTo>
                      <a:pt x="6" y="86"/>
                    </a:lnTo>
                    <a:lnTo>
                      <a:pt x="7" y="89"/>
                    </a:lnTo>
                    <a:lnTo>
                      <a:pt x="7" y="90"/>
                    </a:lnTo>
                    <a:lnTo>
                      <a:pt x="5" y="92"/>
                    </a:lnTo>
                    <a:lnTo>
                      <a:pt x="4" y="93"/>
                    </a:lnTo>
                    <a:lnTo>
                      <a:pt x="1" y="95"/>
                    </a:lnTo>
                    <a:lnTo>
                      <a:pt x="0" y="96"/>
                    </a:lnTo>
                    <a:lnTo>
                      <a:pt x="1" y="97"/>
                    </a:lnTo>
                    <a:lnTo>
                      <a:pt x="2" y="98"/>
                    </a:lnTo>
                    <a:lnTo>
                      <a:pt x="4" y="99"/>
                    </a:lnTo>
                    <a:lnTo>
                      <a:pt x="5" y="101"/>
                    </a:lnTo>
                    <a:lnTo>
                      <a:pt x="7" y="102"/>
                    </a:lnTo>
                    <a:lnTo>
                      <a:pt x="10" y="103"/>
                    </a:lnTo>
                    <a:lnTo>
                      <a:pt x="11" y="103"/>
                    </a:lnTo>
                    <a:lnTo>
                      <a:pt x="13" y="103"/>
                    </a:lnTo>
                    <a:lnTo>
                      <a:pt x="14" y="103"/>
                    </a:lnTo>
                    <a:lnTo>
                      <a:pt x="16" y="104"/>
                    </a:lnTo>
                    <a:lnTo>
                      <a:pt x="17" y="105"/>
                    </a:lnTo>
                    <a:lnTo>
                      <a:pt x="18" y="108"/>
                    </a:lnTo>
                    <a:lnTo>
                      <a:pt x="18" y="109"/>
                    </a:lnTo>
                    <a:lnTo>
                      <a:pt x="19" y="110"/>
                    </a:lnTo>
                    <a:lnTo>
                      <a:pt x="19" y="109"/>
                    </a:lnTo>
                    <a:lnTo>
                      <a:pt x="20" y="109"/>
                    </a:lnTo>
                    <a:lnTo>
                      <a:pt x="20" y="108"/>
                    </a:lnTo>
                    <a:lnTo>
                      <a:pt x="22" y="107"/>
                    </a:lnTo>
                    <a:lnTo>
                      <a:pt x="22" y="105"/>
                    </a:lnTo>
                    <a:lnTo>
                      <a:pt x="23" y="105"/>
                    </a:lnTo>
                    <a:lnTo>
                      <a:pt x="24" y="105"/>
                    </a:lnTo>
                    <a:lnTo>
                      <a:pt x="26" y="105"/>
                    </a:lnTo>
                    <a:lnTo>
                      <a:pt x="26" y="107"/>
                    </a:lnTo>
                    <a:lnTo>
                      <a:pt x="28" y="107"/>
                    </a:lnTo>
                    <a:lnTo>
                      <a:pt x="29" y="107"/>
                    </a:lnTo>
                    <a:lnTo>
                      <a:pt x="30" y="108"/>
                    </a:lnTo>
                    <a:lnTo>
                      <a:pt x="31" y="108"/>
                    </a:lnTo>
                    <a:lnTo>
                      <a:pt x="32" y="108"/>
                    </a:lnTo>
                    <a:lnTo>
                      <a:pt x="34" y="107"/>
                    </a:lnTo>
                    <a:lnTo>
                      <a:pt x="35" y="107"/>
                    </a:lnTo>
                    <a:lnTo>
                      <a:pt x="36" y="107"/>
                    </a:lnTo>
                    <a:lnTo>
                      <a:pt x="36" y="108"/>
                    </a:lnTo>
                    <a:lnTo>
                      <a:pt x="36" y="109"/>
                    </a:lnTo>
                    <a:lnTo>
                      <a:pt x="36" y="110"/>
                    </a:lnTo>
                    <a:lnTo>
                      <a:pt x="36" y="111"/>
                    </a:lnTo>
                    <a:lnTo>
                      <a:pt x="37" y="113"/>
                    </a:lnTo>
                    <a:lnTo>
                      <a:pt x="37" y="114"/>
                    </a:lnTo>
                    <a:lnTo>
                      <a:pt x="38" y="115"/>
                    </a:lnTo>
                    <a:lnTo>
                      <a:pt x="38" y="116"/>
                    </a:lnTo>
                    <a:lnTo>
                      <a:pt x="38" y="117"/>
                    </a:lnTo>
                    <a:lnTo>
                      <a:pt x="37" y="119"/>
                    </a:lnTo>
                    <a:lnTo>
                      <a:pt x="37" y="120"/>
                    </a:lnTo>
                    <a:lnTo>
                      <a:pt x="37" y="121"/>
                    </a:lnTo>
                    <a:lnTo>
                      <a:pt x="37" y="122"/>
                    </a:lnTo>
                    <a:lnTo>
                      <a:pt x="36" y="123"/>
                    </a:lnTo>
                    <a:lnTo>
                      <a:pt x="37" y="125"/>
                    </a:lnTo>
                    <a:lnTo>
                      <a:pt x="37" y="126"/>
                    </a:lnTo>
                    <a:lnTo>
                      <a:pt x="37" y="127"/>
                    </a:lnTo>
                    <a:lnTo>
                      <a:pt x="36" y="128"/>
                    </a:lnTo>
                    <a:lnTo>
                      <a:pt x="36" y="129"/>
                    </a:lnTo>
                    <a:lnTo>
                      <a:pt x="36" y="131"/>
                    </a:lnTo>
                    <a:lnTo>
                      <a:pt x="36" y="132"/>
                    </a:lnTo>
                    <a:lnTo>
                      <a:pt x="35" y="132"/>
                    </a:lnTo>
                    <a:lnTo>
                      <a:pt x="36" y="133"/>
                    </a:lnTo>
                    <a:lnTo>
                      <a:pt x="35" y="133"/>
                    </a:lnTo>
                    <a:lnTo>
                      <a:pt x="35" y="134"/>
                    </a:lnTo>
                    <a:lnTo>
                      <a:pt x="34" y="135"/>
                    </a:lnTo>
                    <a:lnTo>
                      <a:pt x="34" y="137"/>
                    </a:lnTo>
                    <a:lnTo>
                      <a:pt x="32" y="137"/>
                    </a:lnTo>
                    <a:lnTo>
                      <a:pt x="31" y="137"/>
                    </a:lnTo>
                    <a:lnTo>
                      <a:pt x="30" y="138"/>
                    </a:lnTo>
                    <a:lnTo>
                      <a:pt x="30" y="139"/>
                    </a:lnTo>
                    <a:lnTo>
                      <a:pt x="31" y="140"/>
                    </a:lnTo>
                    <a:lnTo>
                      <a:pt x="31" y="141"/>
                    </a:lnTo>
                    <a:lnTo>
                      <a:pt x="32" y="143"/>
                    </a:lnTo>
                    <a:lnTo>
                      <a:pt x="34" y="143"/>
                    </a:lnTo>
                    <a:lnTo>
                      <a:pt x="35" y="144"/>
                    </a:lnTo>
                    <a:lnTo>
                      <a:pt x="36" y="144"/>
                    </a:lnTo>
                    <a:lnTo>
                      <a:pt x="35" y="145"/>
                    </a:lnTo>
                    <a:lnTo>
                      <a:pt x="35" y="146"/>
                    </a:lnTo>
                    <a:lnTo>
                      <a:pt x="34" y="147"/>
                    </a:lnTo>
                    <a:lnTo>
                      <a:pt x="34" y="149"/>
                    </a:lnTo>
                    <a:lnTo>
                      <a:pt x="34" y="150"/>
                    </a:lnTo>
                    <a:lnTo>
                      <a:pt x="32" y="151"/>
                    </a:lnTo>
                    <a:lnTo>
                      <a:pt x="31" y="152"/>
                    </a:lnTo>
                    <a:lnTo>
                      <a:pt x="31" y="153"/>
                    </a:lnTo>
                    <a:lnTo>
                      <a:pt x="31" y="155"/>
                    </a:lnTo>
                    <a:lnTo>
                      <a:pt x="32" y="156"/>
                    </a:lnTo>
                    <a:lnTo>
                      <a:pt x="32" y="155"/>
                    </a:lnTo>
                    <a:lnTo>
                      <a:pt x="34" y="156"/>
                    </a:lnTo>
                    <a:lnTo>
                      <a:pt x="35" y="155"/>
                    </a:lnTo>
                    <a:lnTo>
                      <a:pt x="35" y="153"/>
                    </a:lnTo>
                    <a:lnTo>
                      <a:pt x="37" y="153"/>
                    </a:lnTo>
                    <a:lnTo>
                      <a:pt x="38" y="155"/>
                    </a:lnTo>
                    <a:lnTo>
                      <a:pt x="40" y="153"/>
                    </a:lnTo>
                    <a:lnTo>
                      <a:pt x="41" y="153"/>
                    </a:lnTo>
                    <a:lnTo>
                      <a:pt x="42" y="153"/>
                    </a:lnTo>
                    <a:lnTo>
                      <a:pt x="42" y="155"/>
                    </a:lnTo>
                    <a:lnTo>
                      <a:pt x="43" y="155"/>
                    </a:lnTo>
                    <a:lnTo>
                      <a:pt x="46" y="155"/>
                    </a:lnTo>
                    <a:lnTo>
                      <a:pt x="46" y="153"/>
                    </a:lnTo>
                    <a:lnTo>
                      <a:pt x="47" y="153"/>
                    </a:lnTo>
                    <a:lnTo>
                      <a:pt x="47" y="155"/>
                    </a:lnTo>
                    <a:lnTo>
                      <a:pt x="48" y="155"/>
                    </a:lnTo>
                    <a:lnTo>
                      <a:pt x="49" y="155"/>
                    </a:lnTo>
                    <a:lnTo>
                      <a:pt x="49" y="153"/>
                    </a:lnTo>
                    <a:lnTo>
                      <a:pt x="49" y="152"/>
                    </a:lnTo>
                    <a:lnTo>
                      <a:pt x="50" y="151"/>
                    </a:lnTo>
                    <a:lnTo>
                      <a:pt x="50" y="150"/>
                    </a:lnTo>
                    <a:lnTo>
                      <a:pt x="52" y="150"/>
                    </a:lnTo>
                    <a:lnTo>
                      <a:pt x="53" y="150"/>
                    </a:lnTo>
                    <a:lnTo>
                      <a:pt x="54" y="149"/>
                    </a:lnTo>
                    <a:lnTo>
                      <a:pt x="55" y="149"/>
                    </a:lnTo>
                    <a:lnTo>
                      <a:pt x="56" y="147"/>
                    </a:lnTo>
                    <a:lnTo>
                      <a:pt x="56" y="146"/>
                    </a:lnTo>
                    <a:lnTo>
                      <a:pt x="58" y="146"/>
                    </a:lnTo>
                    <a:lnTo>
                      <a:pt x="59" y="144"/>
                    </a:lnTo>
                    <a:lnTo>
                      <a:pt x="60" y="144"/>
                    </a:lnTo>
                    <a:lnTo>
                      <a:pt x="61" y="143"/>
                    </a:lnTo>
                    <a:lnTo>
                      <a:pt x="62" y="141"/>
                    </a:lnTo>
                    <a:lnTo>
                      <a:pt x="64" y="143"/>
                    </a:lnTo>
                    <a:lnTo>
                      <a:pt x="65" y="143"/>
                    </a:lnTo>
                    <a:lnTo>
                      <a:pt x="65" y="144"/>
                    </a:lnTo>
                    <a:lnTo>
                      <a:pt x="66" y="144"/>
                    </a:lnTo>
                    <a:lnTo>
                      <a:pt x="66" y="145"/>
                    </a:lnTo>
                    <a:lnTo>
                      <a:pt x="66" y="146"/>
                    </a:lnTo>
                    <a:lnTo>
                      <a:pt x="67" y="146"/>
                    </a:lnTo>
                    <a:lnTo>
                      <a:pt x="67" y="147"/>
                    </a:lnTo>
                    <a:lnTo>
                      <a:pt x="67" y="149"/>
                    </a:lnTo>
                    <a:lnTo>
                      <a:pt x="67" y="150"/>
                    </a:lnTo>
                    <a:lnTo>
                      <a:pt x="67" y="151"/>
                    </a:lnTo>
                    <a:lnTo>
                      <a:pt x="67" y="152"/>
                    </a:lnTo>
                    <a:lnTo>
                      <a:pt x="67" y="153"/>
                    </a:lnTo>
                    <a:lnTo>
                      <a:pt x="67" y="155"/>
                    </a:lnTo>
                    <a:lnTo>
                      <a:pt x="67" y="156"/>
                    </a:lnTo>
                    <a:lnTo>
                      <a:pt x="68" y="158"/>
                    </a:lnTo>
                    <a:lnTo>
                      <a:pt x="70" y="158"/>
                    </a:lnTo>
                    <a:lnTo>
                      <a:pt x="70" y="159"/>
                    </a:lnTo>
                    <a:lnTo>
                      <a:pt x="71" y="161"/>
                    </a:lnTo>
                    <a:lnTo>
                      <a:pt x="71" y="162"/>
                    </a:lnTo>
                    <a:lnTo>
                      <a:pt x="72" y="162"/>
                    </a:lnTo>
                    <a:lnTo>
                      <a:pt x="72" y="163"/>
                    </a:lnTo>
                    <a:lnTo>
                      <a:pt x="71" y="164"/>
                    </a:lnTo>
                    <a:lnTo>
                      <a:pt x="73" y="165"/>
                    </a:lnTo>
                    <a:lnTo>
                      <a:pt x="74" y="165"/>
                    </a:lnTo>
                    <a:lnTo>
                      <a:pt x="73" y="167"/>
                    </a:lnTo>
                    <a:lnTo>
                      <a:pt x="73" y="168"/>
                    </a:lnTo>
                    <a:lnTo>
                      <a:pt x="73" y="169"/>
                    </a:lnTo>
                    <a:lnTo>
                      <a:pt x="74" y="170"/>
                    </a:lnTo>
                    <a:lnTo>
                      <a:pt x="76" y="171"/>
                    </a:lnTo>
                    <a:lnTo>
                      <a:pt x="76" y="173"/>
                    </a:lnTo>
                    <a:lnTo>
                      <a:pt x="77" y="173"/>
                    </a:lnTo>
                    <a:lnTo>
                      <a:pt x="78" y="174"/>
                    </a:lnTo>
                    <a:lnTo>
                      <a:pt x="79" y="175"/>
                    </a:lnTo>
                    <a:lnTo>
                      <a:pt x="78" y="175"/>
                    </a:lnTo>
                    <a:lnTo>
                      <a:pt x="78" y="176"/>
                    </a:lnTo>
                    <a:lnTo>
                      <a:pt x="78" y="177"/>
                    </a:lnTo>
                    <a:lnTo>
                      <a:pt x="78" y="179"/>
                    </a:lnTo>
                    <a:lnTo>
                      <a:pt x="79" y="179"/>
                    </a:lnTo>
                    <a:lnTo>
                      <a:pt x="80" y="179"/>
                    </a:lnTo>
                    <a:lnTo>
                      <a:pt x="80" y="180"/>
                    </a:lnTo>
                    <a:lnTo>
                      <a:pt x="80" y="181"/>
                    </a:lnTo>
                    <a:lnTo>
                      <a:pt x="80" y="182"/>
                    </a:lnTo>
                    <a:lnTo>
                      <a:pt x="80" y="183"/>
                    </a:lnTo>
                    <a:lnTo>
                      <a:pt x="82" y="183"/>
                    </a:lnTo>
                    <a:lnTo>
                      <a:pt x="83" y="183"/>
                    </a:lnTo>
                    <a:lnTo>
                      <a:pt x="83" y="185"/>
                    </a:lnTo>
                    <a:lnTo>
                      <a:pt x="84" y="186"/>
                    </a:lnTo>
                    <a:lnTo>
                      <a:pt x="85" y="186"/>
                    </a:lnTo>
                    <a:lnTo>
                      <a:pt x="86" y="186"/>
                    </a:lnTo>
                    <a:lnTo>
                      <a:pt x="88" y="185"/>
                    </a:lnTo>
                    <a:lnTo>
                      <a:pt x="88" y="183"/>
                    </a:lnTo>
                    <a:lnTo>
                      <a:pt x="89" y="182"/>
                    </a:lnTo>
                    <a:lnTo>
                      <a:pt x="89" y="181"/>
                    </a:lnTo>
                    <a:lnTo>
                      <a:pt x="90" y="181"/>
                    </a:lnTo>
                    <a:lnTo>
                      <a:pt x="90" y="182"/>
                    </a:lnTo>
                    <a:lnTo>
                      <a:pt x="91" y="182"/>
                    </a:lnTo>
                    <a:lnTo>
                      <a:pt x="91" y="181"/>
                    </a:lnTo>
                    <a:lnTo>
                      <a:pt x="92" y="181"/>
                    </a:lnTo>
                    <a:lnTo>
                      <a:pt x="94" y="180"/>
                    </a:lnTo>
                    <a:lnTo>
                      <a:pt x="94" y="179"/>
                    </a:lnTo>
                    <a:lnTo>
                      <a:pt x="95" y="179"/>
                    </a:lnTo>
                    <a:lnTo>
                      <a:pt x="95" y="177"/>
                    </a:lnTo>
                    <a:lnTo>
                      <a:pt x="96" y="177"/>
                    </a:lnTo>
                    <a:lnTo>
                      <a:pt x="96" y="176"/>
                    </a:lnTo>
                    <a:lnTo>
                      <a:pt x="97" y="175"/>
                    </a:lnTo>
                    <a:lnTo>
                      <a:pt x="98" y="175"/>
                    </a:lnTo>
                    <a:lnTo>
                      <a:pt x="98" y="174"/>
                    </a:lnTo>
                    <a:lnTo>
                      <a:pt x="100" y="175"/>
                    </a:lnTo>
                    <a:lnTo>
                      <a:pt x="100" y="176"/>
                    </a:lnTo>
                    <a:lnTo>
                      <a:pt x="100" y="177"/>
                    </a:lnTo>
                    <a:lnTo>
                      <a:pt x="100" y="179"/>
                    </a:lnTo>
                    <a:lnTo>
                      <a:pt x="101" y="179"/>
                    </a:lnTo>
                    <a:lnTo>
                      <a:pt x="102" y="180"/>
                    </a:lnTo>
                    <a:lnTo>
                      <a:pt x="103" y="180"/>
                    </a:lnTo>
                    <a:lnTo>
                      <a:pt x="103" y="181"/>
                    </a:lnTo>
                    <a:lnTo>
                      <a:pt x="103" y="182"/>
                    </a:lnTo>
                    <a:lnTo>
                      <a:pt x="103" y="183"/>
                    </a:lnTo>
                    <a:lnTo>
                      <a:pt x="103" y="185"/>
                    </a:lnTo>
                    <a:lnTo>
                      <a:pt x="104" y="185"/>
                    </a:lnTo>
                    <a:lnTo>
                      <a:pt x="106" y="185"/>
                    </a:lnTo>
                    <a:lnTo>
                      <a:pt x="107" y="183"/>
                    </a:lnTo>
                    <a:lnTo>
                      <a:pt x="108" y="183"/>
                    </a:lnTo>
                    <a:lnTo>
                      <a:pt x="109" y="183"/>
                    </a:lnTo>
                    <a:lnTo>
                      <a:pt x="109" y="182"/>
                    </a:lnTo>
                    <a:lnTo>
                      <a:pt x="110" y="183"/>
                    </a:lnTo>
                    <a:lnTo>
                      <a:pt x="112" y="183"/>
                    </a:lnTo>
                    <a:lnTo>
                      <a:pt x="113" y="182"/>
                    </a:lnTo>
                    <a:lnTo>
                      <a:pt x="114" y="182"/>
                    </a:lnTo>
                    <a:lnTo>
                      <a:pt x="115" y="182"/>
                    </a:lnTo>
                    <a:lnTo>
                      <a:pt x="116" y="181"/>
                    </a:lnTo>
                    <a:lnTo>
                      <a:pt x="118" y="181"/>
                    </a:lnTo>
                    <a:lnTo>
                      <a:pt x="119" y="181"/>
                    </a:lnTo>
                    <a:lnTo>
                      <a:pt x="119" y="180"/>
                    </a:lnTo>
                    <a:lnTo>
                      <a:pt x="119" y="179"/>
                    </a:lnTo>
                    <a:lnTo>
                      <a:pt x="120" y="179"/>
                    </a:lnTo>
                    <a:lnTo>
                      <a:pt x="120" y="177"/>
                    </a:lnTo>
                    <a:lnTo>
                      <a:pt x="121" y="176"/>
                    </a:lnTo>
                    <a:lnTo>
                      <a:pt x="122" y="176"/>
                    </a:lnTo>
                    <a:lnTo>
                      <a:pt x="124" y="176"/>
                    </a:lnTo>
                    <a:lnTo>
                      <a:pt x="125" y="176"/>
                    </a:lnTo>
                    <a:lnTo>
                      <a:pt x="126" y="175"/>
                    </a:lnTo>
                    <a:lnTo>
                      <a:pt x="126" y="174"/>
                    </a:lnTo>
                    <a:lnTo>
                      <a:pt x="127" y="173"/>
                    </a:lnTo>
                    <a:lnTo>
                      <a:pt x="128" y="173"/>
                    </a:lnTo>
                    <a:lnTo>
                      <a:pt x="128" y="171"/>
                    </a:lnTo>
                    <a:lnTo>
                      <a:pt x="130" y="170"/>
                    </a:lnTo>
                    <a:lnTo>
                      <a:pt x="131" y="170"/>
                    </a:lnTo>
                    <a:lnTo>
                      <a:pt x="131" y="169"/>
                    </a:lnTo>
                    <a:lnTo>
                      <a:pt x="132" y="169"/>
                    </a:lnTo>
                    <a:lnTo>
                      <a:pt x="133" y="169"/>
                    </a:lnTo>
                    <a:lnTo>
                      <a:pt x="133" y="168"/>
                    </a:lnTo>
                    <a:lnTo>
                      <a:pt x="134" y="168"/>
                    </a:lnTo>
                    <a:lnTo>
                      <a:pt x="136" y="168"/>
                    </a:lnTo>
                    <a:lnTo>
                      <a:pt x="136" y="167"/>
                    </a:lnTo>
                    <a:lnTo>
                      <a:pt x="137" y="165"/>
                    </a:lnTo>
                    <a:lnTo>
                      <a:pt x="138" y="165"/>
                    </a:lnTo>
                    <a:lnTo>
                      <a:pt x="138" y="164"/>
                    </a:lnTo>
                    <a:lnTo>
                      <a:pt x="138" y="163"/>
                    </a:lnTo>
                    <a:lnTo>
                      <a:pt x="138" y="162"/>
                    </a:lnTo>
                    <a:lnTo>
                      <a:pt x="139" y="162"/>
                    </a:lnTo>
                    <a:lnTo>
                      <a:pt x="140" y="162"/>
                    </a:lnTo>
                    <a:lnTo>
                      <a:pt x="142" y="162"/>
                    </a:lnTo>
                    <a:lnTo>
                      <a:pt x="142" y="163"/>
                    </a:lnTo>
                    <a:lnTo>
                      <a:pt x="143" y="163"/>
                    </a:lnTo>
                    <a:lnTo>
                      <a:pt x="143" y="164"/>
                    </a:lnTo>
                    <a:lnTo>
                      <a:pt x="143" y="165"/>
                    </a:lnTo>
                    <a:lnTo>
                      <a:pt x="144" y="167"/>
                    </a:lnTo>
                    <a:lnTo>
                      <a:pt x="144" y="168"/>
                    </a:lnTo>
                    <a:lnTo>
                      <a:pt x="145" y="169"/>
                    </a:lnTo>
                    <a:lnTo>
                      <a:pt x="146" y="169"/>
                    </a:lnTo>
                    <a:lnTo>
                      <a:pt x="148" y="170"/>
                    </a:lnTo>
                    <a:lnTo>
                      <a:pt x="149" y="171"/>
                    </a:lnTo>
                    <a:lnTo>
                      <a:pt x="150" y="170"/>
                    </a:lnTo>
                    <a:lnTo>
                      <a:pt x="150" y="171"/>
                    </a:lnTo>
                    <a:lnTo>
                      <a:pt x="151" y="170"/>
                    </a:lnTo>
                    <a:lnTo>
                      <a:pt x="152" y="170"/>
                    </a:lnTo>
                    <a:lnTo>
                      <a:pt x="154" y="170"/>
                    </a:lnTo>
                    <a:lnTo>
                      <a:pt x="155" y="170"/>
                    </a:lnTo>
                    <a:lnTo>
                      <a:pt x="155" y="169"/>
                    </a:lnTo>
                  </a:path>
                </a:pathLst>
              </a:custGeom>
              <a:solidFill>
                <a:srgbClr val="EAEAEA"/>
              </a:solidFill>
              <a:ln w="9525" cmpd="sng">
                <a:solidFill>
                  <a:srgbClr val="77777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38" name="Freeform 30"/>
              <p:cNvSpPr>
                <a:spLocks/>
              </p:cNvSpPr>
              <p:nvPr/>
            </p:nvSpPr>
            <p:spPr bwMode="auto">
              <a:xfrm>
                <a:off x="2810688" y="2917351"/>
                <a:ext cx="129060" cy="133532"/>
              </a:xfrm>
              <a:custGeom>
                <a:avLst/>
                <a:gdLst/>
                <a:ahLst/>
                <a:cxnLst>
                  <a:cxn ang="0">
                    <a:pos x="32" y="122"/>
                  </a:cxn>
                  <a:cxn ang="0">
                    <a:pos x="0" y="57"/>
                  </a:cxn>
                  <a:cxn ang="0">
                    <a:pos x="33" y="32"/>
                  </a:cxn>
                  <a:cxn ang="0">
                    <a:pos x="38" y="20"/>
                  </a:cxn>
                  <a:cxn ang="0">
                    <a:pos x="8" y="15"/>
                  </a:cxn>
                  <a:cxn ang="0">
                    <a:pos x="3" y="3"/>
                  </a:cxn>
                  <a:cxn ang="0">
                    <a:pos x="38" y="0"/>
                  </a:cxn>
                  <a:cxn ang="0">
                    <a:pos x="75" y="12"/>
                  </a:cxn>
                  <a:cxn ang="0">
                    <a:pos x="87" y="50"/>
                  </a:cxn>
                  <a:cxn ang="0">
                    <a:pos x="87" y="75"/>
                  </a:cxn>
                  <a:cxn ang="0">
                    <a:pos x="63" y="107"/>
                  </a:cxn>
                  <a:cxn ang="0">
                    <a:pos x="32" y="122"/>
                  </a:cxn>
                </a:cxnLst>
                <a:rect l="0" t="0" r="r" b="b"/>
                <a:pathLst>
                  <a:path w="87" h="122">
                    <a:moveTo>
                      <a:pt x="32" y="122"/>
                    </a:moveTo>
                    <a:lnTo>
                      <a:pt x="0" y="57"/>
                    </a:lnTo>
                    <a:lnTo>
                      <a:pt x="33" y="32"/>
                    </a:lnTo>
                    <a:lnTo>
                      <a:pt x="38" y="20"/>
                    </a:lnTo>
                    <a:lnTo>
                      <a:pt x="8" y="15"/>
                    </a:lnTo>
                    <a:lnTo>
                      <a:pt x="3" y="3"/>
                    </a:lnTo>
                    <a:lnTo>
                      <a:pt x="38" y="0"/>
                    </a:lnTo>
                    <a:lnTo>
                      <a:pt x="75" y="12"/>
                    </a:lnTo>
                    <a:lnTo>
                      <a:pt x="87" y="50"/>
                    </a:lnTo>
                    <a:lnTo>
                      <a:pt x="87" y="75"/>
                    </a:lnTo>
                    <a:lnTo>
                      <a:pt x="63" y="107"/>
                    </a:lnTo>
                    <a:lnTo>
                      <a:pt x="32" y="122"/>
                    </a:lnTo>
                    <a:close/>
                  </a:path>
                </a:pathLst>
              </a:custGeom>
              <a:solidFill>
                <a:srgbClr val="EAEAEA"/>
              </a:solidFill>
              <a:ln w="9525" cmpd="sng">
                <a:solidFill>
                  <a:srgbClr val="777777"/>
                </a:solidFill>
                <a:prstDash val="solid"/>
                <a:round/>
                <a:headEnd/>
                <a:tailEnd/>
              </a:ln>
              <a:effectLst>
                <a:outerShdw dist="107763" dir="2700000" algn="ctr" rotWithShape="0">
                  <a:srgbClr val="808080">
                    <a:alpha val="50000"/>
                  </a:srgbClr>
                </a:outerShdw>
              </a:effectLst>
            </p:spPr>
            <p:txBody>
              <a:bodyPr/>
              <a:lstStyle/>
              <a:p>
                <a:pPr latinLnBrk="0">
                  <a:defRPr/>
                </a:pPr>
                <a:endParaRPr kumimoji="0" lang="ko-KR" altLang="en-US" dirty="0">
                  <a:ea typeface="+mn-ea"/>
                </a:endParaRPr>
              </a:p>
            </p:txBody>
          </p:sp>
          <p:sp>
            <p:nvSpPr>
              <p:cNvPr id="39" name="Freeform 31"/>
              <p:cNvSpPr>
                <a:spLocks/>
              </p:cNvSpPr>
              <p:nvPr/>
            </p:nvSpPr>
            <p:spPr bwMode="auto">
              <a:xfrm>
                <a:off x="3562461" y="3909736"/>
                <a:ext cx="246827" cy="251890"/>
              </a:xfrm>
              <a:custGeom>
                <a:avLst/>
                <a:gdLst/>
                <a:ahLst/>
                <a:cxnLst>
                  <a:cxn ang="0">
                    <a:pos x="112" y="221"/>
                  </a:cxn>
                  <a:cxn ang="0">
                    <a:pos x="75" y="229"/>
                  </a:cxn>
                  <a:cxn ang="0">
                    <a:pos x="26" y="217"/>
                  </a:cxn>
                  <a:cxn ang="0">
                    <a:pos x="0" y="179"/>
                  </a:cxn>
                  <a:cxn ang="0">
                    <a:pos x="9" y="129"/>
                  </a:cxn>
                  <a:cxn ang="0">
                    <a:pos x="16" y="57"/>
                  </a:cxn>
                  <a:cxn ang="0">
                    <a:pos x="66" y="17"/>
                  </a:cxn>
                  <a:cxn ang="0">
                    <a:pos x="112" y="0"/>
                  </a:cxn>
                  <a:cxn ang="0">
                    <a:pos x="134" y="17"/>
                  </a:cxn>
                  <a:cxn ang="0">
                    <a:pos x="159" y="33"/>
                  </a:cxn>
                  <a:cxn ang="0">
                    <a:pos x="171" y="62"/>
                  </a:cxn>
                  <a:cxn ang="0">
                    <a:pos x="146" y="113"/>
                  </a:cxn>
                  <a:cxn ang="0">
                    <a:pos x="125" y="141"/>
                  </a:cxn>
                  <a:cxn ang="0">
                    <a:pos x="137" y="195"/>
                  </a:cxn>
                  <a:cxn ang="0">
                    <a:pos x="112" y="221"/>
                  </a:cxn>
                </a:cxnLst>
                <a:rect l="0" t="0" r="r" b="b"/>
                <a:pathLst>
                  <a:path w="171" h="229">
                    <a:moveTo>
                      <a:pt x="112" y="221"/>
                    </a:moveTo>
                    <a:lnTo>
                      <a:pt x="75" y="229"/>
                    </a:lnTo>
                    <a:lnTo>
                      <a:pt x="26" y="217"/>
                    </a:lnTo>
                    <a:lnTo>
                      <a:pt x="0" y="179"/>
                    </a:lnTo>
                    <a:lnTo>
                      <a:pt x="9" y="129"/>
                    </a:lnTo>
                    <a:lnTo>
                      <a:pt x="16" y="57"/>
                    </a:lnTo>
                    <a:lnTo>
                      <a:pt x="66" y="17"/>
                    </a:lnTo>
                    <a:lnTo>
                      <a:pt x="112" y="0"/>
                    </a:lnTo>
                    <a:lnTo>
                      <a:pt x="134" y="17"/>
                    </a:lnTo>
                    <a:lnTo>
                      <a:pt x="159" y="33"/>
                    </a:lnTo>
                    <a:lnTo>
                      <a:pt x="171" y="62"/>
                    </a:lnTo>
                    <a:lnTo>
                      <a:pt x="146" y="113"/>
                    </a:lnTo>
                    <a:lnTo>
                      <a:pt x="125" y="141"/>
                    </a:lnTo>
                    <a:lnTo>
                      <a:pt x="137" y="195"/>
                    </a:lnTo>
                    <a:lnTo>
                      <a:pt x="112" y="221"/>
                    </a:lnTo>
                    <a:close/>
                  </a:path>
                </a:pathLst>
              </a:custGeom>
              <a:solidFill>
                <a:srgbClr val="EAEAEA"/>
              </a:solidFill>
              <a:ln w="9525" cmpd="sng">
                <a:solidFill>
                  <a:srgbClr val="777777"/>
                </a:solidFill>
                <a:prstDash val="solid"/>
                <a:round/>
                <a:headEnd/>
                <a:tailEnd/>
              </a:ln>
              <a:effectLst>
                <a:outerShdw dist="107763" dir="2700000" algn="ctr" rotWithShape="0">
                  <a:srgbClr val="808080">
                    <a:alpha val="50000"/>
                  </a:srgbClr>
                </a:outerShdw>
              </a:effectLst>
            </p:spPr>
            <p:txBody>
              <a:bodyPr/>
              <a:lstStyle/>
              <a:p>
                <a:pPr latinLnBrk="0">
                  <a:defRPr/>
                </a:pPr>
                <a:endParaRPr kumimoji="0" lang="ko-KR" altLang="en-US" dirty="0">
                  <a:ea typeface="+mn-ea"/>
                </a:endParaRPr>
              </a:p>
            </p:txBody>
          </p:sp>
          <p:sp>
            <p:nvSpPr>
              <p:cNvPr id="40" name="Freeform 40"/>
              <p:cNvSpPr>
                <a:spLocks/>
              </p:cNvSpPr>
              <p:nvPr/>
            </p:nvSpPr>
            <p:spPr bwMode="auto">
              <a:xfrm>
                <a:off x="4104511" y="3110062"/>
                <a:ext cx="1781023" cy="1614522"/>
              </a:xfrm>
              <a:custGeom>
                <a:avLst/>
                <a:gdLst/>
                <a:ahLst/>
                <a:cxnLst>
                  <a:cxn ang="0">
                    <a:pos x="436" y="1235"/>
                  </a:cxn>
                  <a:cxn ang="0">
                    <a:pos x="406" y="1279"/>
                  </a:cxn>
                  <a:cxn ang="0">
                    <a:pos x="457" y="1320"/>
                  </a:cxn>
                  <a:cxn ang="0">
                    <a:pos x="432" y="1341"/>
                  </a:cxn>
                  <a:cxn ang="0">
                    <a:pos x="425" y="1364"/>
                  </a:cxn>
                  <a:cxn ang="0">
                    <a:pos x="424" y="1387"/>
                  </a:cxn>
                  <a:cxn ang="0">
                    <a:pos x="415" y="1409"/>
                  </a:cxn>
                  <a:cxn ang="0">
                    <a:pos x="388" y="1458"/>
                  </a:cxn>
                  <a:cxn ang="0">
                    <a:pos x="246" y="1433"/>
                  </a:cxn>
                  <a:cxn ang="0">
                    <a:pos x="259" y="1365"/>
                  </a:cxn>
                  <a:cxn ang="0">
                    <a:pos x="196" y="1278"/>
                  </a:cxn>
                  <a:cxn ang="0">
                    <a:pos x="67" y="1241"/>
                  </a:cxn>
                  <a:cxn ang="0">
                    <a:pos x="37" y="1157"/>
                  </a:cxn>
                  <a:cxn ang="0">
                    <a:pos x="96" y="1069"/>
                  </a:cxn>
                  <a:cxn ang="0">
                    <a:pos x="117" y="949"/>
                  </a:cxn>
                  <a:cxn ang="0">
                    <a:pos x="71" y="911"/>
                  </a:cxn>
                  <a:cxn ang="0">
                    <a:pos x="12" y="865"/>
                  </a:cxn>
                  <a:cxn ang="0">
                    <a:pos x="37" y="789"/>
                  </a:cxn>
                  <a:cxn ang="0">
                    <a:pos x="21" y="653"/>
                  </a:cxn>
                  <a:cxn ang="0">
                    <a:pos x="9" y="590"/>
                  </a:cxn>
                  <a:cxn ang="0">
                    <a:pos x="121" y="481"/>
                  </a:cxn>
                  <a:cxn ang="0">
                    <a:pos x="163" y="398"/>
                  </a:cxn>
                  <a:cxn ang="0">
                    <a:pos x="246" y="398"/>
                  </a:cxn>
                  <a:cxn ang="0">
                    <a:pos x="309" y="398"/>
                  </a:cxn>
                  <a:cxn ang="0">
                    <a:pos x="391" y="402"/>
                  </a:cxn>
                  <a:cxn ang="0">
                    <a:pos x="417" y="306"/>
                  </a:cxn>
                  <a:cxn ang="0">
                    <a:pos x="583" y="227"/>
                  </a:cxn>
                  <a:cxn ang="0">
                    <a:pos x="642" y="189"/>
                  </a:cxn>
                  <a:cxn ang="0">
                    <a:pos x="708" y="189"/>
                  </a:cxn>
                  <a:cxn ang="0">
                    <a:pos x="834" y="157"/>
                  </a:cxn>
                  <a:cxn ang="0">
                    <a:pos x="880" y="161"/>
                  </a:cxn>
                  <a:cxn ang="0">
                    <a:pos x="1006" y="0"/>
                  </a:cxn>
                  <a:cxn ang="0">
                    <a:pos x="1032" y="114"/>
                  </a:cxn>
                  <a:cxn ang="0">
                    <a:pos x="1085" y="209"/>
                  </a:cxn>
                  <a:cxn ang="0">
                    <a:pos x="1074" y="265"/>
                  </a:cxn>
                  <a:cxn ang="0">
                    <a:pos x="1111" y="441"/>
                  </a:cxn>
                  <a:cxn ang="0">
                    <a:pos x="1099" y="559"/>
                  </a:cxn>
                  <a:cxn ang="0">
                    <a:pos x="1091" y="631"/>
                  </a:cxn>
                  <a:cxn ang="0">
                    <a:pos x="1116" y="678"/>
                  </a:cxn>
                  <a:cxn ang="0">
                    <a:pos x="1104" y="756"/>
                  </a:cxn>
                  <a:cxn ang="0">
                    <a:pos x="1073" y="857"/>
                  </a:cxn>
                  <a:cxn ang="0">
                    <a:pos x="1085" y="919"/>
                  </a:cxn>
                  <a:cxn ang="0">
                    <a:pos x="1096" y="1015"/>
                  </a:cxn>
                  <a:cxn ang="0">
                    <a:pos x="1105" y="1058"/>
                  </a:cxn>
                  <a:cxn ang="0">
                    <a:pos x="1077" y="1087"/>
                  </a:cxn>
                  <a:cxn ang="0">
                    <a:pos x="1121" y="1122"/>
                  </a:cxn>
                  <a:cxn ang="0">
                    <a:pos x="1183" y="1053"/>
                  </a:cxn>
                  <a:cxn ang="0">
                    <a:pos x="1218" y="1083"/>
                  </a:cxn>
                  <a:cxn ang="0">
                    <a:pos x="1213" y="1142"/>
                  </a:cxn>
                  <a:cxn ang="0">
                    <a:pos x="1180" y="1269"/>
                  </a:cxn>
                  <a:cxn ang="0">
                    <a:pos x="1146" y="1395"/>
                  </a:cxn>
                  <a:cxn ang="0">
                    <a:pos x="1009" y="1382"/>
                  </a:cxn>
                  <a:cxn ang="0">
                    <a:pos x="900" y="1362"/>
                  </a:cxn>
                  <a:cxn ang="0">
                    <a:pos x="772" y="1458"/>
                  </a:cxn>
                  <a:cxn ang="0">
                    <a:pos x="479" y="1441"/>
                  </a:cxn>
                  <a:cxn ang="0">
                    <a:pos x="511" y="1369"/>
                  </a:cxn>
                  <a:cxn ang="0">
                    <a:pos x="545" y="1357"/>
                  </a:cxn>
                  <a:cxn ang="0">
                    <a:pos x="559" y="1320"/>
                  </a:cxn>
                  <a:cxn ang="0">
                    <a:pos x="582" y="1278"/>
                  </a:cxn>
                  <a:cxn ang="0">
                    <a:pos x="597" y="1219"/>
                  </a:cxn>
                  <a:cxn ang="0">
                    <a:pos x="538" y="1173"/>
                  </a:cxn>
                  <a:cxn ang="0">
                    <a:pos x="489" y="1182"/>
                  </a:cxn>
                  <a:cxn ang="0">
                    <a:pos x="453" y="1253"/>
                  </a:cxn>
                </a:cxnLst>
                <a:rect l="0" t="0" r="r" b="b"/>
                <a:pathLst>
                  <a:path w="1218" h="1473">
                    <a:moveTo>
                      <a:pt x="453" y="1253"/>
                    </a:moveTo>
                    <a:lnTo>
                      <a:pt x="436" y="1235"/>
                    </a:lnTo>
                    <a:lnTo>
                      <a:pt x="415" y="1244"/>
                    </a:lnTo>
                    <a:lnTo>
                      <a:pt x="406" y="1279"/>
                    </a:lnTo>
                    <a:lnTo>
                      <a:pt x="409" y="1304"/>
                    </a:lnTo>
                    <a:lnTo>
                      <a:pt x="457" y="1320"/>
                    </a:lnTo>
                    <a:lnTo>
                      <a:pt x="449" y="1332"/>
                    </a:lnTo>
                    <a:lnTo>
                      <a:pt x="432" y="1341"/>
                    </a:lnTo>
                    <a:lnTo>
                      <a:pt x="424" y="1355"/>
                    </a:lnTo>
                    <a:lnTo>
                      <a:pt x="425" y="1364"/>
                    </a:lnTo>
                    <a:lnTo>
                      <a:pt x="424" y="1377"/>
                    </a:lnTo>
                    <a:lnTo>
                      <a:pt x="424" y="1387"/>
                    </a:lnTo>
                    <a:lnTo>
                      <a:pt x="429" y="1398"/>
                    </a:lnTo>
                    <a:lnTo>
                      <a:pt x="415" y="1409"/>
                    </a:lnTo>
                    <a:lnTo>
                      <a:pt x="401" y="1412"/>
                    </a:lnTo>
                    <a:lnTo>
                      <a:pt x="388" y="1458"/>
                    </a:lnTo>
                    <a:lnTo>
                      <a:pt x="313" y="1433"/>
                    </a:lnTo>
                    <a:lnTo>
                      <a:pt x="246" y="1433"/>
                    </a:lnTo>
                    <a:lnTo>
                      <a:pt x="246" y="1399"/>
                    </a:lnTo>
                    <a:lnTo>
                      <a:pt x="259" y="1365"/>
                    </a:lnTo>
                    <a:lnTo>
                      <a:pt x="255" y="1323"/>
                    </a:lnTo>
                    <a:lnTo>
                      <a:pt x="196" y="1278"/>
                    </a:lnTo>
                    <a:lnTo>
                      <a:pt x="133" y="1257"/>
                    </a:lnTo>
                    <a:lnTo>
                      <a:pt x="67" y="1241"/>
                    </a:lnTo>
                    <a:lnTo>
                      <a:pt x="17" y="1211"/>
                    </a:lnTo>
                    <a:lnTo>
                      <a:pt x="37" y="1157"/>
                    </a:lnTo>
                    <a:lnTo>
                      <a:pt x="34" y="1116"/>
                    </a:lnTo>
                    <a:lnTo>
                      <a:pt x="96" y="1069"/>
                    </a:lnTo>
                    <a:lnTo>
                      <a:pt x="96" y="998"/>
                    </a:lnTo>
                    <a:lnTo>
                      <a:pt x="117" y="949"/>
                    </a:lnTo>
                    <a:lnTo>
                      <a:pt x="108" y="919"/>
                    </a:lnTo>
                    <a:lnTo>
                      <a:pt x="71" y="911"/>
                    </a:lnTo>
                    <a:lnTo>
                      <a:pt x="34" y="890"/>
                    </a:lnTo>
                    <a:lnTo>
                      <a:pt x="12" y="865"/>
                    </a:lnTo>
                    <a:lnTo>
                      <a:pt x="12" y="819"/>
                    </a:lnTo>
                    <a:lnTo>
                      <a:pt x="37" y="789"/>
                    </a:lnTo>
                    <a:lnTo>
                      <a:pt x="21" y="735"/>
                    </a:lnTo>
                    <a:lnTo>
                      <a:pt x="21" y="653"/>
                    </a:lnTo>
                    <a:lnTo>
                      <a:pt x="0" y="631"/>
                    </a:lnTo>
                    <a:lnTo>
                      <a:pt x="9" y="590"/>
                    </a:lnTo>
                    <a:lnTo>
                      <a:pt x="63" y="511"/>
                    </a:lnTo>
                    <a:lnTo>
                      <a:pt x="121" y="481"/>
                    </a:lnTo>
                    <a:lnTo>
                      <a:pt x="133" y="423"/>
                    </a:lnTo>
                    <a:lnTo>
                      <a:pt x="163" y="398"/>
                    </a:lnTo>
                    <a:lnTo>
                      <a:pt x="213" y="410"/>
                    </a:lnTo>
                    <a:lnTo>
                      <a:pt x="246" y="398"/>
                    </a:lnTo>
                    <a:lnTo>
                      <a:pt x="267" y="373"/>
                    </a:lnTo>
                    <a:lnTo>
                      <a:pt x="309" y="398"/>
                    </a:lnTo>
                    <a:lnTo>
                      <a:pt x="330" y="410"/>
                    </a:lnTo>
                    <a:lnTo>
                      <a:pt x="391" y="402"/>
                    </a:lnTo>
                    <a:lnTo>
                      <a:pt x="401" y="373"/>
                    </a:lnTo>
                    <a:lnTo>
                      <a:pt x="417" y="306"/>
                    </a:lnTo>
                    <a:lnTo>
                      <a:pt x="513" y="206"/>
                    </a:lnTo>
                    <a:lnTo>
                      <a:pt x="583" y="227"/>
                    </a:lnTo>
                    <a:lnTo>
                      <a:pt x="617" y="223"/>
                    </a:lnTo>
                    <a:lnTo>
                      <a:pt x="642" y="189"/>
                    </a:lnTo>
                    <a:lnTo>
                      <a:pt x="671" y="174"/>
                    </a:lnTo>
                    <a:lnTo>
                      <a:pt x="708" y="189"/>
                    </a:lnTo>
                    <a:lnTo>
                      <a:pt x="784" y="174"/>
                    </a:lnTo>
                    <a:lnTo>
                      <a:pt x="834" y="157"/>
                    </a:lnTo>
                    <a:lnTo>
                      <a:pt x="855" y="174"/>
                    </a:lnTo>
                    <a:lnTo>
                      <a:pt x="880" y="161"/>
                    </a:lnTo>
                    <a:lnTo>
                      <a:pt x="909" y="93"/>
                    </a:lnTo>
                    <a:lnTo>
                      <a:pt x="1006" y="0"/>
                    </a:lnTo>
                    <a:lnTo>
                      <a:pt x="1029" y="67"/>
                    </a:lnTo>
                    <a:lnTo>
                      <a:pt x="1032" y="114"/>
                    </a:lnTo>
                    <a:lnTo>
                      <a:pt x="1048" y="159"/>
                    </a:lnTo>
                    <a:lnTo>
                      <a:pt x="1085" y="209"/>
                    </a:lnTo>
                    <a:lnTo>
                      <a:pt x="1078" y="235"/>
                    </a:lnTo>
                    <a:lnTo>
                      <a:pt x="1074" y="265"/>
                    </a:lnTo>
                    <a:lnTo>
                      <a:pt x="1078" y="344"/>
                    </a:lnTo>
                    <a:lnTo>
                      <a:pt x="1111" y="441"/>
                    </a:lnTo>
                    <a:lnTo>
                      <a:pt x="1125" y="521"/>
                    </a:lnTo>
                    <a:lnTo>
                      <a:pt x="1099" y="559"/>
                    </a:lnTo>
                    <a:lnTo>
                      <a:pt x="1086" y="606"/>
                    </a:lnTo>
                    <a:lnTo>
                      <a:pt x="1091" y="631"/>
                    </a:lnTo>
                    <a:lnTo>
                      <a:pt x="1103" y="650"/>
                    </a:lnTo>
                    <a:lnTo>
                      <a:pt x="1116" y="678"/>
                    </a:lnTo>
                    <a:lnTo>
                      <a:pt x="1104" y="702"/>
                    </a:lnTo>
                    <a:lnTo>
                      <a:pt x="1104" y="756"/>
                    </a:lnTo>
                    <a:lnTo>
                      <a:pt x="1090" y="787"/>
                    </a:lnTo>
                    <a:lnTo>
                      <a:pt x="1073" y="857"/>
                    </a:lnTo>
                    <a:lnTo>
                      <a:pt x="1071" y="901"/>
                    </a:lnTo>
                    <a:lnTo>
                      <a:pt x="1085" y="919"/>
                    </a:lnTo>
                    <a:lnTo>
                      <a:pt x="1083" y="956"/>
                    </a:lnTo>
                    <a:lnTo>
                      <a:pt x="1096" y="1015"/>
                    </a:lnTo>
                    <a:lnTo>
                      <a:pt x="1107" y="1040"/>
                    </a:lnTo>
                    <a:lnTo>
                      <a:pt x="1105" y="1058"/>
                    </a:lnTo>
                    <a:lnTo>
                      <a:pt x="1080" y="1067"/>
                    </a:lnTo>
                    <a:lnTo>
                      <a:pt x="1077" y="1087"/>
                    </a:lnTo>
                    <a:lnTo>
                      <a:pt x="1091" y="1112"/>
                    </a:lnTo>
                    <a:lnTo>
                      <a:pt x="1121" y="1122"/>
                    </a:lnTo>
                    <a:lnTo>
                      <a:pt x="1167" y="1079"/>
                    </a:lnTo>
                    <a:lnTo>
                      <a:pt x="1183" y="1053"/>
                    </a:lnTo>
                    <a:lnTo>
                      <a:pt x="1197" y="1046"/>
                    </a:lnTo>
                    <a:lnTo>
                      <a:pt x="1218" y="1083"/>
                    </a:lnTo>
                    <a:lnTo>
                      <a:pt x="1218" y="1117"/>
                    </a:lnTo>
                    <a:lnTo>
                      <a:pt x="1213" y="1142"/>
                    </a:lnTo>
                    <a:lnTo>
                      <a:pt x="1192" y="1194"/>
                    </a:lnTo>
                    <a:lnTo>
                      <a:pt x="1180" y="1269"/>
                    </a:lnTo>
                    <a:lnTo>
                      <a:pt x="1146" y="1344"/>
                    </a:lnTo>
                    <a:lnTo>
                      <a:pt x="1146" y="1395"/>
                    </a:lnTo>
                    <a:lnTo>
                      <a:pt x="1084" y="1377"/>
                    </a:lnTo>
                    <a:lnTo>
                      <a:pt x="1009" y="1382"/>
                    </a:lnTo>
                    <a:lnTo>
                      <a:pt x="951" y="1353"/>
                    </a:lnTo>
                    <a:lnTo>
                      <a:pt x="900" y="1362"/>
                    </a:lnTo>
                    <a:lnTo>
                      <a:pt x="851" y="1411"/>
                    </a:lnTo>
                    <a:lnTo>
                      <a:pt x="772" y="1458"/>
                    </a:lnTo>
                    <a:lnTo>
                      <a:pt x="558" y="1473"/>
                    </a:lnTo>
                    <a:lnTo>
                      <a:pt x="479" y="1441"/>
                    </a:lnTo>
                    <a:lnTo>
                      <a:pt x="497" y="1401"/>
                    </a:lnTo>
                    <a:lnTo>
                      <a:pt x="511" y="1369"/>
                    </a:lnTo>
                    <a:lnTo>
                      <a:pt x="531" y="1359"/>
                    </a:lnTo>
                    <a:lnTo>
                      <a:pt x="545" y="1357"/>
                    </a:lnTo>
                    <a:lnTo>
                      <a:pt x="557" y="1341"/>
                    </a:lnTo>
                    <a:lnTo>
                      <a:pt x="559" y="1320"/>
                    </a:lnTo>
                    <a:lnTo>
                      <a:pt x="567" y="1307"/>
                    </a:lnTo>
                    <a:lnTo>
                      <a:pt x="582" y="1278"/>
                    </a:lnTo>
                    <a:lnTo>
                      <a:pt x="588" y="1266"/>
                    </a:lnTo>
                    <a:lnTo>
                      <a:pt x="597" y="1219"/>
                    </a:lnTo>
                    <a:lnTo>
                      <a:pt x="571" y="1182"/>
                    </a:lnTo>
                    <a:lnTo>
                      <a:pt x="538" y="1173"/>
                    </a:lnTo>
                    <a:lnTo>
                      <a:pt x="504" y="1179"/>
                    </a:lnTo>
                    <a:lnTo>
                      <a:pt x="489" y="1182"/>
                    </a:lnTo>
                    <a:lnTo>
                      <a:pt x="459" y="1224"/>
                    </a:lnTo>
                    <a:lnTo>
                      <a:pt x="453" y="1253"/>
                    </a:lnTo>
                    <a:close/>
                  </a:path>
                </a:pathLst>
              </a:custGeom>
              <a:solidFill>
                <a:srgbClr val="EAEAEA"/>
              </a:solidFill>
              <a:ln w="9525" cmpd="sng">
                <a:solidFill>
                  <a:srgbClr val="777777"/>
                </a:solidFill>
                <a:prstDash val="solid"/>
                <a:round/>
                <a:headEnd/>
                <a:tailEnd/>
              </a:ln>
              <a:effectLst>
                <a:outerShdw dist="107763" dir="2700000" algn="ctr" rotWithShape="0">
                  <a:srgbClr val="808080">
                    <a:alpha val="50000"/>
                  </a:srgbClr>
                </a:outerShdw>
              </a:effectLst>
            </p:spPr>
            <p:txBody>
              <a:bodyPr/>
              <a:lstStyle/>
              <a:p>
                <a:pPr latinLnBrk="0">
                  <a:defRPr/>
                </a:pPr>
                <a:endParaRPr kumimoji="0" lang="ko-KR" altLang="en-US" dirty="0">
                  <a:ea typeface="+mn-ea"/>
                </a:endParaRPr>
              </a:p>
            </p:txBody>
          </p:sp>
          <p:sp>
            <p:nvSpPr>
              <p:cNvPr id="41" name="Freeform 41"/>
              <p:cNvSpPr>
                <a:spLocks/>
              </p:cNvSpPr>
              <p:nvPr/>
            </p:nvSpPr>
            <p:spPr bwMode="auto">
              <a:xfrm>
                <a:off x="3849618" y="4434759"/>
                <a:ext cx="1929441" cy="1168404"/>
              </a:xfrm>
              <a:custGeom>
                <a:avLst/>
                <a:gdLst/>
                <a:ahLst/>
                <a:cxnLst>
                  <a:cxn ang="0">
                    <a:pos x="848" y="600"/>
                  </a:cxn>
                  <a:cxn ang="0">
                    <a:pos x="890" y="570"/>
                  </a:cxn>
                  <a:cxn ang="0">
                    <a:pos x="1020" y="501"/>
                  </a:cxn>
                  <a:cxn ang="0">
                    <a:pos x="1084" y="463"/>
                  </a:cxn>
                  <a:cxn ang="0">
                    <a:pos x="1092" y="446"/>
                  </a:cxn>
                  <a:cxn ang="0">
                    <a:pos x="1104" y="417"/>
                  </a:cxn>
                  <a:cxn ang="0">
                    <a:pos x="1102" y="403"/>
                  </a:cxn>
                  <a:cxn ang="0">
                    <a:pos x="1108" y="397"/>
                  </a:cxn>
                  <a:cxn ang="0">
                    <a:pos x="1122" y="399"/>
                  </a:cxn>
                  <a:cxn ang="0">
                    <a:pos x="1138" y="409"/>
                  </a:cxn>
                  <a:cxn ang="0">
                    <a:pos x="1148" y="411"/>
                  </a:cxn>
                  <a:cxn ang="0">
                    <a:pos x="1160" y="404"/>
                  </a:cxn>
                  <a:cxn ang="0">
                    <a:pos x="1169" y="392"/>
                  </a:cxn>
                  <a:cxn ang="0">
                    <a:pos x="1166" y="376"/>
                  </a:cxn>
                  <a:cxn ang="0">
                    <a:pos x="1174" y="373"/>
                  </a:cxn>
                  <a:cxn ang="0">
                    <a:pos x="1186" y="379"/>
                  </a:cxn>
                  <a:cxn ang="0">
                    <a:pos x="1198" y="379"/>
                  </a:cxn>
                  <a:cxn ang="0">
                    <a:pos x="1216" y="373"/>
                  </a:cxn>
                  <a:cxn ang="0">
                    <a:pos x="1234" y="369"/>
                  </a:cxn>
                  <a:cxn ang="0">
                    <a:pos x="1244" y="376"/>
                  </a:cxn>
                  <a:cxn ang="0">
                    <a:pos x="1312" y="342"/>
                  </a:cxn>
                  <a:cxn ang="0">
                    <a:pos x="1259" y="166"/>
                  </a:cxn>
                  <a:cxn ang="0">
                    <a:pos x="947" y="247"/>
                  </a:cxn>
                  <a:cxn ang="0">
                    <a:pos x="488" y="222"/>
                  </a:cxn>
                  <a:cxn ang="0">
                    <a:pos x="371" y="67"/>
                  </a:cxn>
                  <a:cxn ang="0">
                    <a:pos x="116" y="63"/>
                  </a:cxn>
                  <a:cxn ang="0">
                    <a:pos x="37" y="400"/>
                  </a:cxn>
                  <a:cxn ang="0">
                    <a:pos x="158" y="788"/>
                  </a:cxn>
                  <a:cxn ang="0">
                    <a:pos x="247" y="795"/>
                  </a:cxn>
                  <a:cxn ang="0">
                    <a:pos x="197" y="864"/>
                  </a:cxn>
                  <a:cxn ang="0">
                    <a:pos x="226" y="1039"/>
                  </a:cxn>
                  <a:cxn ang="0">
                    <a:pos x="277" y="1069"/>
                  </a:cxn>
                  <a:cxn ang="0">
                    <a:pos x="331" y="1005"/>
                  </a:cxn>
                  <a:cxn ang="0">
                    <a:pos x="319" y="908"/>
                  </a:cxn>
                  <a:cxn ang="0">
                    <a:pos x="462" y="850"/>
                  </a:cxn>
                  <a:cxn ang="0">
                    <a:pos x="520" y="850"/>
                  </a:cxn>
                  <a:cxn ang="0">
                    <a:pos x="562" y="918"/>
                  </a:cxn>
                  <a:cxn ang="0">
                    <a:pos x="625" y="914"/>
                  </a:cxn>
                  <a:cxn ang="0">
                    <a:pos x="617" y="808"/>
                  </a:cxn>
                  <a:cxn ang="0">
                    <a:pos x="642" y="734"/>
                  </a:cxn>
                  <a:cxn ang="0">
                    <a:pos x="679" y="699"/>
                  </a:cxn>
                  <a:cxn ang="0">
                    <a:pos x="750" y="724"/>
                  </a:cxn>
                  <a:cxn ang="0">
                    <a:pos x="750" y="679"/>
                  </a:cxn>
                  <a:cxn ang="0">
                    <a:pos x="790" y="652"/>
                  </a:cxn>
                  <a:cxn ang="0">
                    <a:pos x="864" y="632"/>
                  </a:cxn>
                  <a:cxn ang="0">
                    <a:pos x="226" y="1039"/>
                  </a:cxn>
                  <a:cxn ang="0">
                    <a:pos x="277" y="1069"/>
                  </a:cxn>
                  <a:cxn ang="0">
                    <a:pos x="331" y="1005"/>
                  </a:cxn>
                  <a:cxn ang="0">
                    <a:pos x="340" y="976"/>
                  </a:cxn>
                  <a:cxn ang="0">
                    <a:pos x="302" y="1069"/>
                  </a:cxn>
                  <a:cxn ang="0">
                    <a:pos x="239" y="1022"/>
                  </a:cxn>
                  <a:cxn ang="0">
                    <a:pos x="866" y="631"/>
                  </a:cxn>
                </a:cxnLst>
                <a:rect l="0" t="0" r="r" b="b"/>
                <a:pathLst>
                  <a:path w="1321" h="1069">
                    <a:moveTo>
                      <a:pt x="866" y="631"/>
                    </a:moveTo>
                    <a:lnTo>
                      <a:pt x="851" y="614"/>
                    </a:lnTo>
                    <a:lnTo>
                      <a:pt x="853" y="609"/>
                    </a:lnTo>
                    <a:lnTo>
                      <a:pt x="853" y="604"/>
                    </a:lnTo>
                    <a:lnTo>
                      <a:pt x="848" y="600"/>
                    </a:lnTo>
                    <a:lnTo>
                      <a:pt x="847" y="586"/>
                    </a:lnTo>
                    <a:lnTo>
                      <a:pt x="862" y="578"/>
                    </a:lnTo>
                    <a:lnTo>
                      <a:pt x="871" y="576"/>
                    </a:lnTo>
                    <a:lnTo>
                      <a:pt x="878" y="578"/>
                    </a:lnTo>
                    <a:lnTo>
                      <a:pt x="890" y="570"/>
                    </a:lnTo>
                    <a:lnTo>
                      <a:pt x="904" y="568"/>
                    </a:lnTo>
                    <a:lnTo>
                      <a:pt x="919" y="564"/>
                    </a:lnTo>
                    <a:lnTo>
                      <a:pt x="941" y="559"/>
                    </a:lnTo>
                    <a:lnTo>
                      <a:pt x="978" y="556"/>
                    </a:lnTo>
                    <a:lnTo>
                      <a:pt x="1020" y="501"/>
                    </a:lnTo>
                    <a:lnTo>
                      <a:pt x="1037" y="474"/>
                    </a:lnTo>
                    <a:lnTo>
                      <a:pt x="1052" y="483"/>
                    </a:lnTo>
                    <a:lnTo>
                      <a:pt x="1054" y="480"/>
                    </a:lnTo>
                    <a:lnTo>
                      <a:pt x="1081" y="464"/>
                    </a:lnTo>
                    <a:lnTo>
                      <a:pt x="1084" y="463"/>
                    </a:lnTo>
                    <a:lnTo>
                      <a:pt x="1086" y="460"/>
                    </a:lnTo>
                    <a:lnTo>
                      <a:pt x="1086" y="459"/>
                    </a:lnTo>
                    <a:lnTo>
                      <a:pt x="1088" y="452"/>
                    </a:lnTo>
                    <a:lnTo>
                      <a:pt x="1090" y="451"/>
                    </a:lnTo>
                    <a:lnTo>
                      <a:pt x="1092" y="446"/>
                    </a:lnTo>
                    <a:lnTo>
                      <a:pt x="1094" y="442"/>
                    </a:lnTo>
                    <a:lnTo>
                      <a:pt x="1097" y="439"/>
                    </a:lnTo>
                    <a:lnTo>
                      <a:pt x="1097" y="435"/>
                    </a:lnTo>
                    <a:lnTo>
                      <a:pt x="1100" y="427"/>
                    </a:lnTo>
                    <a:lnTo>
                      <a:pt x="1104" y="417"/>
                    </a:lnTo>
                    <a:lnTo>
                      <a:pt x="1105" y="416"/>
                    </a:lnTo>
                    <a:lnTo>
                      <a:pt x="1105" y="414"/>
                    </a:lnTo>
                    <a:lnTo>
                      <a:pt x="1105" y="411"/>
                    </a:lnTo>
                    <a:lnTo>
                      <a:pt x="1104" y="409"/>
                    </a:lnTo>
                    <a:lnTo>
                      <a:pt x="1102" y="403"/>
                    </a:lnTo>
                    <a:lnTo>
                      <a:pt x="1100" y="402"/>
                    </a:lnTo>
                    <a:lnTo>
                      <a:pt x="1102" y="399"/>
                    </a:lnTo>
                    <a:lnTo>
                      <a:pt x="1103" y="398"/>
                    </a:lnTo>
                    <a:lnTo>
                      <a:pt x="1104" y="398"/>
                    </a:lnTo>
                    <a:lnTo>
                      <a:pt x="1108" y="397"/>
                    </a:lnTo>
                    <a:lnTo>
                      <a:pt x="1110" y="396"/>
                    </a:lnTo>
                    <a:lnTo>
                      <a:pt x="1114" y="397"/>
                    </a:lnTo>
                    <a:lnTo>
                      <a:pt x="1116" y="397"/>
                    </a:lnTo>
                    <a:lnTo>
                      <a:pt x="1120" y="398"/>
                    </a:lnTo>
                    <a:lnTo>
                      <a:pt x="1122" y="399"/>
                    </a:lnTo>
                    <a:lnTo>
                      <a:pt x="1124" y="400"/>
                    </a:lnTo>
                    <a:lnTo>
                      <a:pt x="1129" y="404"/>
                    </a:lnTo>
                    <a:lnTo>
                      <a:pt x="1132" y="405"/>
                    </a:lnTo>
                    <a:lnTo>
                      <a:pt x="1135" y="408"/>
                    </a:lnTo>
                    <a:lnTo>
                      <a:pt x="1138" y="409"/>
                    </a:lnTo>
                    <a:lnTo>
                      <a:pt x="1140" y="410"/>
                    </a:lnTo>
                    <a:lnTo>
                      <a:pt x="1142" y="411"/>
                    </a:lnTo>
                    <a:lnTo>
                      <a:pt x="1144" y="411"/>
                    </a:lnTo>
                    <a:lnTo>
                      <a:pt x="1146" y="411"/>
                    </a:lnTo>
                    <a:lnTo>
                      <a:pt x="1148" y="411"/>
                    </a:lnTo>
                    <a:lnTo>
                      <a:pt x="1151" y="411"/>
                    </a:lnTo>
                    <a:lnTo>
                      <a:pt x="1153" y="410"/>
                    </a:lnTo>
                    <a:lnTo>
                      <a:pt x="1156" y="408"/>
                    </a:lnTo>
                    <a:lnTo>
                      <a:pt x="1158" y="406"/>
                    </a:lnTo>
                    <a:lnTo>
                      <a:pt x="1160" y="404"/>
                    </a:lnTo>
                    <a:lnTo>
                      <a:pt x="1163" y="402"/>
                    </a:lnTo>
                    <a:lnTo>
                      <a:pt x="1165" y="399"/>
                    </a:lnTo>
                    <a:lnTo>
                      <a:pt x="1168" y="396"/>
                    </a:lnTo>
                    <a:lnTo>
                      <a:pt x="1168" y="393"/>
                    </a:lnTo>
                    <a:lnTo>
                      <a:pt x="1169" y="392"/>
                    </a:lnTo>
                    <a:lnTo>
                      <a:pt x="1169" y="388"/>
                    </a:lnTo>
                    <a:lnTo>
                      <a:pt x="1169" y="387"/>
                    </a:lnTo>
                    <a:lnTo>
                      <a:pt x="1169" y="385"/>
                    </a:lnTo>
                    <a:lnTo>
                      <a:pt x="1166" y="379"/>
                    </a:lnTo>
                    <a:lnTo>
                      <a:pt x="1166" y="376"/>
                    </a:lnTo>
                    <a:lnTo>
                      <a:pt x="1166" y="375"/>
                    </a:lnTo>
                    <a:lnTo>
                      <a:pt x="1168" y="373"/>
                    </a:lnTo>
                    <a:lnTo>
                      <a:pt x="1170" y="372"/>
                    </a:lnTo>
                    <a:lnTo>
                      <a:pt x="1172" y="372"/>
                    </a:lnTo>
                    <a:lnTo>
                      <a:pt x="1174" y="373"/>
                    </a:lnTo>
                    <a:lnTo>
                      <a:pt x="1176" y="373"/>
                    </a:lnTo>
                    <a:lnTo>
                      <a:pt x="1180" y="376"/>
                    </a:lnTo>
                    <a:lnTo>
                      <a:pt x="1182" y="378"/>
                    </a:lnTo>
                    <a:lnTo>
                      <a:pt x="1184" y="379"/>
                    </a:lnTo>
                    <a:lnTo>
                      <a:pt x="1186" y="379"/>
                    </a:lnTo>
                    <a:lnTo>
                      <a:pt x="1188" y="380"/>
                    </a:lnTo>
                    <a:lnTo>
                      <a:pt x="1190" y="380"/>
                    </a:lnTo>
                    <a:lnTo>
                      <a:pt x="1193" y="380"/>
                    </a:lnTo>
                    <a:lnTo>
                      <a:pt x="1195" y="380"/>
                    </a:lnTo>
                    <a:lnTo>
                      <a:pt x="1198" y="379"/>
                    </a:lnTo>
                    <a:lnTo>
                      <a:pt x="1204" y="378"/>
                    </a:lnTo>
                    <a:lnTo>
                      <a:pt x="1207" y="375"/>
                    </a:lnTo>
                    <a:lnTo>
                      <a:pt x="1211" y="374"/>
                    </a:lnTo>
                    <a:lnTo>
                      <a:pt x="1213" y="374"/>
                    </a:lnTo>
                    <a:lnTo>
                      <a:pt x="1216" y="373"/>
                    </a:lnTo>
                    <a:lnTo>
                      <a:pt x="1219" y="373"/>
                    </a:lnTo>
                    <a:lnTo>
                      <a:pt x="1223" y="372"/>
                    </a:lnTo>
                    <a:lnTo>
                      <a:pt x="1228" y="370"/>
                    </a:lnTo>
                    <a:lnTo>
                      <a:pt x="1229" y="370"/>
                    </a:lnTo>
                    <a:lnTo>
                      <a:pt x="1234" y="369"/>
                    </a:lnTo>
                    <a:lnTo>
                      <a:pt x="1236" y="370"/>
                    </a:lnTo>
                    <a:lnTo>
                      <a:pt x="1237" y="370"/>
                    </a:lnTo>
                    <a:lnTo>
                      <a:pt x="1240" y="372"/>
                    </a:lnTo>
                    <a:lnTo>
                      <a:pt x="1242" y="373"/>
                    </a:lnTo>
                    <a:lnTo>
                      <a:pt x="1244" y="376"/>
                    </a:lnTo>
                    <a:lnTo>
                      <a:pt x="1248" y="373"/>
                    </a:lnTo>
                    <a:lnTo>
                      <a:pt x="1249" y="372"/>
                    </a:lnTo>
                    <a:lnTo>
                      <a:pt x="1267" y="355"/>
                    </a:lnTo>
                    <a:lnTo>
                      <a:pt x="1314" y="352"/>
                    </a:lnTo>
                    <a:lnTo>
                      <a:pt x="1312" y="342"/>
                    </a:lnTo>
                    <a:lnTo>
                      <a:pt x="1308" y="322"/>
                    </a:lnTo>
                    <a:lnTo>
                      <a:pt x="1319" y="316"/>
                    </a:lnTo>
                    <a:lnTo>
                      <a:pt x="1321" y="255"/>
                    </a:lnTo>
                    <a:lnTo>
                      <a:pt x="1321" y="184"/>
                    </a:lnTo>
                    <a:lnTo>
                      <a:pt x="1259" y="166"/>
                    </a:lnTo>
                    <a:lnTo>
                      <a:pt x="1184" y="171"/>
                    </a:lnTo>
                    <a:lnTo>
                      <a:pt x="1126" y="142"/>
                    </a:lnTo>
                    <a:lnTo>
                      <a:pt x="1075" y="151"/>
                    </a:lnTo>
                    <a:lnTo>
                      <a:pt x="1026" y="200"/>
                    </a:lnTo>
                    <a:lnTo>
                      <a:pt x="947" y="247"/>
                    </a:lnTo>
                    <a:lnTo>
                      <a:pt x="733" y="262"/>
                    </a:lnTo>
                    <a:lnTo>
                      <a:pt x="654" y="230"/>
                    </a:lnTo>
                    <a:lnTo>
                      <a:pt x="605" y="242"/>
                    </a:lnTo>
                    <a:lnTo>
                      <a:pt x="563" y="247"/>
                    </a:lnTo>
                    <a:lnTo>
                      <a:pt x="488" y="222"/>
                    </a:lnTo>
                    <a:lnTo>
                      <a:pt x="421" y="222"/>
                    </a:lnTo>
                    <a:lnTo>
                      <a:pt x="421" y="188"/>
                    </a:lnTo>
                    <a:lnTo>
                      <a:pt x="434" y="154"/>
                    </a:lnTo>
                    <a:lnTo>
                      <a:pt x="430" y="112"/>
                    </a:lnTo>
                    <a:lnTo>
                      <a:pt x="371" y="67"/>
                    </a:lnTo>
                    <a:lnTo>
                      <a:pt x="308" y="46"/>
                    </a:lnTo>
                    <a:lnTo>
                      <a:pt x="242" y="30"/>
                    </a:lnTo>
                    <a:lnTo>
                      <a:pt x="192" y="0"/>
                    </a:lnTo>
                    <a:lnTo>
                      <a:pt x="172" y="25"/>
                    </a:lnTo>
                    <a:lnTo>
                      <a:pt x="116" y="63"/>
                    </a:lnTo>
                    <a:lnTo>
                      <a:pt x="67" y="100"/>
                    </a:lnTo>
                    <a:lnTo>
                      <a:pt x="22" y="159"/>
                    </a:lnTo>
                    <a:lnTo>
                      <a:pt x="12" y="267"/>
                    </a:lnTo>
                    <a:lnTo>
                      <a:pt x="22" y="338"/>
                    </a:lnTo>
                    <a:lnTo>
                      <a:pt x="37" y="400"/>
                    </a:lnTo>
                    <a:lnTo>
                      <a:pt x="25" y="459"/>
                    </a:lnTo>
                    <a:lnTo>
                      <a:pt x="0" y="538"/>
                    </a:lnTo>
                    <a:lnTo>
                      <a:pt x="36" y="624"/>
                    </a:lnTo>
                    <a:lnTo>
                      <a:pt x="76" y="693"/>
                    </a:lnTo>
                    <a:lnTo>
                      <a:pt x="158" y="788"/>
                    </a:lnTo>
                    <a:lnTo>
                      <a:pt x="158" y="816"/>
                    </a:lnTo>
                    <a:lnTo>
                      <a:pt x="175" y="825"/>
                    </a:lnTo>
                    <a:lnTo>
                      <a:pt x="200" y="825"/>
                    </a:lnTo>
                    <a:lnTo>
                      <a:pt x="217" y="813"/>
                    </a:lnTo>
                    <a:lnTo>
                      <a:pt x="247" y="795"/>
                    </a:lnTo>
                    <a:lnTo>
                      <a:pt x="272" y="800"/>
                    </a:lnTo>
                    <a:lnTo>
                      <a:pt x="277" y="825"/>
                    </a:lnTo>
                    <a:lnTo>
                      <a:pt x="277" y="850"/>
                    </a:lnTo>
                    <a:lnTo>
                      <a:pt x="247" y="842"/>
                    </a:lnTo>
                    <a:lnTo>
                      <a:pt x="197" y="864"/>
                    </a:lnTo>
                    <a:lnTo>
                      <a:pt x="167" y="909"/>
                    </a:lnTo>
                    <a:lnTo>
                      <a:pt x="155" y="951"/>
                    </a:lnTo>
                    <a:lnTo>
                      <a:pt x="175" y="997"/>
                    </a:lnTo>
                    <a:lnTo>
                      <a:pt x="205" y="1039"/>
                    </a:lnTo>
                    <a:lnTo>
                      <a:pt x="226" y="1039"/>
                    </a:lnTo>
                    <a:lnTo>
                      <a:pt x="239" y="1022"/>
                    </a:lnTo>
                    <a:lnTo>
                      <a:pt x="251" y="1002"/>
                    </a:lnTo>
                    <a:lnTo>
                      <a:pt x="259" y="1018"/>
                    </a:lnTo>
                    <a:lnTo>
                      <a:pt x="264" y="1052"/>
                    </a:lnTo>
                    <a:lnTo>
                      <a:pt x="277" y="1069"/>
                    </a:lnTo>
                    <a:lnTo>
                      <a:pt x="302" y="1069"/>
                    </a:lnTo>
                    <a:lnTo>
                      <a:pt x="331" y="1069"/>
                    </a:lnTo>
                    <a:lnTo>
                      <a:pt x="331" y="1039"/>
                    </a:lnTo>
                    <a:lnTo>
                      <a:pt x="323" y="1022"/>
                    </a:lnTo>
                    <a:lnTo>
                      <a:pt x="331" y="1005"/>
                    </a:lnTo>
                    <a:lnTo>
                      <a:pt x="340" y="976"/>
                    </a:lnTo>
                    <a:lnTo>
                      <a:pt x="331" y="963"/>
                    </a:lnTo>
                    <a:lnTo>
                      <a:pt x="319" y="939"/>
                    </a:lnTo>
                    <a:lnTo>
                      <a:pt x="319" y="909"/>
                    </a:lnTo>
                    <a:lnTo>
                      <a:pt x="319" y="908"/>
                    </a:lnTo>
                    <a:lnTo>
                      <a:pt x="323" y="867"/>
                    </a:lnTo>
                    <a:lnTo>
                      <a:pt x="356" y="872"/>
                    </a:lnTo>
                    <a:lnTo>
                      <a:pt x="412" y="884"/>
                    </a:lnTo>
                    <a:lnTo>
                      <a:pt x="457" y="876"/>
                    </a:lnTo>
                    <a:lnTo>
                      <a:pt x="462" y="850"/>
                    </a:lnTo>
                    <a:lnTo>
                      <a:pt x="482" y="855"/>
                    </a:lnTo>
                    <a:lnTo>
                      <a:pt x="482" y="872"/>
                    </a:lnTo>
                    <a:lnTo>
                      <a:pt x="494" y="901"/>
                    </a:lnTo>
                    <a:lnTo>
                      <a:pt x="511" y="884"/>
                    </a:lnTo>
                    <a:lnTo>
                      <a:pt x="520" y="850"/>
                    </a:lnTo>
                    <a:lnTo>
                      <a:pt x="536" y="847"/>
                    </a:lnTo>
                    <a:lnTo>
                      <a:pt x="533" y="864"/>
                    </a:lnTo>
                    <a:lnTo>
                      <a:pt x="524" y="889"/>
                    </a:lnTo>
                    <a:lnTo>
                      <a:pt x="545" y="906"/>
                    </a:lnTo>
                    <a:lnTo>
                      <a:pt x="562" y="918"/>
                    </a:lnTo>
                    <a:lnTo>
                      <a:pt x="570" y="934"/>
                    </a:lnTo>
                    <a:lnTo>
                      <a:pt x="595" y="951"/>
                    </a:lnTo>
                    <a:lnTo>
                      <a:pt x="608" y="951"/>
                    </a:lnTo>
                    <a:lnTo>
                      <a:pt x="625" y="934"/>
                    </a:lnTo>
                    <a:lnTo>
                      <a:pt x="625" y="914"/>
                    </a:lnTo>
                    <a:lnTo>
                      <a:pt x="625" y="884"/>
                    </a:lnTo>
                    <a:lnTo>
                      <a:pt x="612" y="872"/>
                    </a:lnTo>
                    <a:lnTo>
                      <a:pt x="604" y="855"/>
                    </a:lnTo>
                    <a:lnTo>
                      <a:pt x="604" y="830"/>
                    </a:lnTo>
                    <a:lnTo>
                      <a:pt x="617" y="808"/>
                    </a:lnTo>
                    <a:lnTo>
                      <a:pt x="642" y="804"/>
                    </a:lnTo>
                    <a:lnTo>
                      <a:pt x="646" y="783"/>
                    </a:lnTo>
                    <a:lnTo>
                      <a:pt x="637" y="768"/>
                    </a:lnTo>
                    <a:lnTo>
                      <a:pt x="646" y="751"/>
                    </a:lnTo>
                    <a:lnTo>
                      <a:pt x="642" y="734"/>
                    </a:lnTo>
                    <a:lnTo>
                      <a:pt x="634" y="708"/>
                    </a:lnTo>
                    <a:lnTo>
                      <a:pt x="650" y="708"/>
                    </a:lnTo>
                    <a:lnTo>
                      <a:pt x="659" y="716"/>
                    </a:lnTo>
                    <a:lnTo>
                      <a:pt x="666" y="712"/>
                    </a:lnTo>
                    <a:lnTo>
                      <a:pt x="679" y="699"/>
                    </a:lnTo>
                    <a:lnTo>
                      <a:pt x="692" y="716"/>
                    </a:lnTo>
                    <a:lnTo>
                      <a:pt x="706" y="729"/>
                    </a:lnTo>
                    <a:lnTo>
                      <a:pt x="718" y="738"/>
                    </a:lnTo>
                    <a:lnTo>
                      <a:pt x="746" y="738"/>
                    </a:lnTo>
                    <a:lnTo>
                      <a:pt x="750" y="724"/>
                    </a:lnTo>
                    <a:lnTo>
                      <a:pt x="742" y="712"/>
                    </a:lnTo>
                    <a:lnTo>
                      <a:pt x="706" y="696"/>
                    </a:lnTo>
                    <a:lnTo>
                      <a:pt x="701" y="674"/>
                    </a:lnTo>
                    <a:lnTo>
                      <a:pt x="726" y="666"/>
                    </a:lnTo>
                    <a:lnTo>
                      <a:pt x="750" y="679"/>
                    </a:lnTo>
                    <a:lnTo>
                      <a:pt x="806" y="705"/>
                    </a:lnTo>
                    <a:lnTo>
                      <a:pt x="821" y="704"/>
                    </a:lnTo>
                    <a:lnTo>
                      <a:pt x="803" y="686"/>
                    </a:lnTo>
                    <a:lnTo>
                      <a:pt x="790" y="668"/>
                    </a:lnTo>
                    <a:lnTo>
                      <a:pt x="790" y="652"/>
                    </a:lnTo>
                    <a:lnTo>
                      <a:pt x="804" y="645"/>
                    </a:lnTo>
                    <a:lnTo>
                      <a:pt x="816" y="643"/>
                    </a:lnTo>
                    <a:lnTo>
                      <a:pt x="821" y="633"/>
                    </a:lnTo>
                    <a:lnTo>
                      <a:pt x="841" y="633"/>
                    </a:lnTo>
                    <a:lnTo>
                      <a:pt x="864" y="632"/>
                    </a:lnTo>
                    <a:lnTo>
                      <a:pt x="866" y="631"/>
                    </a:lnTo>
                    <a:lnTo>
                      <a:pt x="155" y="951"/>
                    </a:lnTo>
                    <a:lnTo>
                      <a:pt x="175" y="997"/>
                    </a:lnTo>
                    <a:lnTo>
                      <a:pt x="205" y="1039"/>
                    </a:lnTo>
                    <a:lnTo>
                      <a:pt x="226" y="1039"/>
                    </a:lnTo>
                    <a:lnTo>
                      <a:pt x="239" y="1022"/>
                    </a:lnTo>
                    <a:lnTo>
                      <a:pt x="251" y="1002"/>
                    </a:lnTo>
                    <a:lnTo>
                      <a:pt x="259" y="1018"/>
                    </a:lnTo>
                    <a:lnTo>
                      <a:pt x="264" y="1052"/>
                    </a:lnTo>
                    <a:lnTo>
                      <a:pt x="277" y="1069"/>
                    </a:lnTo>
                    <a:lnTo>
                      <a:pt x="302" y="1069"/>
                    </a:lnTo>
                    <a:lnTo>
                      <a:pt x="331" y="1069"/>
                    </a:lnTo>
                    <a:lnTo>
                      <a:pt x="331" y="1039"/>
                    </a:lnTo>
                    <a:lnTo>
                      <a:pt x="323" y="1022"/>
                    </a:lnTo>
                    <a:lnTo>
                      <a:pt x="331" y="1005"/>
                    </a:lnTo>
                    <a:lnTo>
                      <a:pt x="340" y="976"/>
                    </a:lnTo>
                    <a:lnTo>
                      <a:pt x="331" y="963"/>
                    </a:lnTo>
                    <a:lnTo>
                      <a:pt x="319" y="939"/>
                    </a:lnTo>
                    <a:lnTo>
                      <a:pt x="331" y="963"/>
                    </a:lnTo>
                    <a:lnTo>
                      <a:pt x="340" y="976"/>
                    </a:lnTo>
                    <a:lnTo>
                      <a:pt x="331" y="1005"/>
                    </a:lnTo>
                    <a:lnTo>
                      <a:pt x="323" y="1022"/>
                    </a:lnTo>
                    <a:lnTo>
                      <a:pt x="331" y="1039"/>
                    </a:lnTo>
                    <a:lnTo>
                      <a:pt x="331" y="1069"/>
                    </a:lnTo>
                    <a:lnTo>
                      <a:pt x="302" y="1069"/>
                    </a:lnTo>
                    <a:lnTo>
                      <a:pt x="277" y="1069"/>
                    </a:lnTo>
                    <a:lnTo>
                      <a:pt x="264" y="1052"/>
                    </a:lnTo>
                    <a:lnTo>
                      <a:pt x="259" y="1018"/>
                    </a:lnTo>
                    <a:lnTo>
                      <a:pt x="251" y="1002"/>
                    </a:lnTo>
                    <a:lnTo>
                      <a:pt x="239" y="1022"/>
                    </a:lnTo>
                    <a:lnTo>
                      <a:pt x="226" y="1039"/>
                    </a:lnTo>
                    <a:lnTo>
                      <a:pt x="205" y="1039"/>
                    </a:lnTo>
                    <a:lnTo>
                      <a:pt x="175" y="997"/>
                    </a:lnTo>
                    <a:lnTo>
                      <a:pt x="155" y="951"/>
                    </a:lnTo>
                    <a:lnTo>
                      <a:pt x="866" y="631"/>
                    </a:lnTo>
                    <a:close/>
                  </a:path>
                </a:pathLst>
              </a:custGeom>
              <a:solidFill>
                <a:srgbClr val="EAEAEA"/>
              </a:solidFill>
              <a:ln w="9525" cmpd="sng">
                <a:solidFill>
                  <a:srgbClr val="777777"/>
                </a:solidFill>
                <a:round/>
                <a:headEnd/>
                <a:tailEnd/>
              </a:ln>
              <a:effectLst>
                <a:outerShdw dist="107763" dir="2700000" algn="ctr" rotWithShape="0">
                  <a:srgbClr val="808080">
                    <a:alpha val="50000"/>
                  </a:srgbClr>
                </a:outerShdw>
              </a:effectLst>
            </p:spPr>
            <p:txBody>
              <a:bodyPr/>
              <a:lstStyle/>
              <a:p>
                <a:pPr latinLnBrk="0">
                  <a:defRPr/>
                </a:pPr>
                <a:endParaRPr kumimoji="0" lang="ko-KR" altLang="en-US" dirty="0">
                  <a:ea typeface="+mn-ea"/>
                </a:endParaRPr>
              </a:p>
            </p:txBody>
          </p:sp>
          <p:sp>
            <p:nvSpPr>
              <p:cNvPr id="42" name="Freeform 42"/>
              <p:cNvSpPr>
                <a:spLocks/>
              </p:cNvSpPr>
              <p:nvPr/>
            </p:nvSpPr>
            <p:spPr bwMode="auto">
              <a:xfrm>
                <a:off x="3849618" y="4434759"/>
                <a:ext cx="1929441" cy="1168404"/>
              </a:xfrm>
              <a:custGeom>
                <a:avLst/>
                <a:gdLst/>
                <a:ahLst/>
                <a:cxnLst>
                  <a:cxn ang="0">
                    <a:pos x="853" y="604"/>
                  </a:cxn>
                  <a:cxn ang="0">
                    <a:pos x="871" y="576"/>
                  </a:cxn>
                  <a:cxn ang="0">
                    <a:pos x="919" y="564"/>
                  </a:cxn>
                  <a:cxn ang="0">
                    <a:pos x="1037" y="474"/>
                  </a:cxn>
                  <a:cxn ang="0">
                    <a:pos x="1084" y="463"/>
                  </a:cxn>
                  <a:cxn ang="0">
                    <a:pos x="1090" y="451"/>
                  </a:cxn>
                  <a:cxn ang="0">
                    <a:pos x="1097" y="435"/>
                  </a:cxn>
                  <a:cxn ang="0">
                    <a:pos x="1105" y="414"/>
                  </a:cxn>
                  <a:cxn ang="0">
                    <a:pos x="1100" y="402"/>
                  </a:cxn>
                  <a:cxn ang="0">
                    <a:pos x="1108" y="397"/>
                  </a:cxn>
                  <a:cxn ang="0">
                    <a:pos x="1120" y="398"/>
                  </a:cxn>
                  <a:cxn ang="0">
                    <a:pos x="1132" y="405"/>
                  </a:cxn>
                  <a:cxn ang="0">
                    <a:pos x="1142" y="411"/>
                  </a:cxn>
                  <a:cxn ang="0">
                    <a:pos x="1151" y="411"/>
                  </a:cxn>
                  <a:cxn ang="0">
                    <a:pos x="1160" y="404"/>
                  </a:cxn>
                  <a:cxn ang="0">
                    <a:pos x="1168" y="393"/>
                  </a:cxn>
                  <a:cxn ang="0">
                    <a:pos x="1169" y="385"/>
                  </a:cxn>
                  <a:cxn ang="0">
                    <a:pos x="1168" y="373"/>
                  </a:cxn>
                  <a:cxn ang="0">
                    <a:pos x="1176" y="373"/>
                  </a:cxn>
                  <a:cxn ang="0">
                    <a:pos x="1186" y="379"/>
                  </a:cxn>
                  <a:cxn ang="0">
                    <a:pos x="1195" y="380"/>
                  </a:cxn>
                  <a:cxn ang="0">
                    <a:pos x="1211" y="374"/>
                  </a:cxn>
                  <a:cxn ang="0">
                    <a:pos x="1223" y="372"/>
                  </a:cxn>
                  <a:cxn ang="0">
                    <a:pos x="1236" y="370"/>
                  </a:cxn>
                  <a:cxn ang="0">
                    <a:pos x="1244" y="376"/>
                  </a:cxn>
                  <a:cxn ang="0">
                    <a:pos x="1314" y="352"/>
                  </a:cxn>
                  <a:cxn ang="0">
                    <a:pos x="1321" y="255"/>
                  </a:cxn>
                  <a:cxn ang="0">
                    <a:pos x="1126" y="142"/>
                  </a:cxn>
                  <a:cxn ang="0">
                    <a:pos x="733" y="262"/>
                  </a:cxn>
                  <a:cxn ang="0">
                    <a:pos x="488" y="222"/>
                  </a:cxn>
                  <a:cxn ang="0">
                    <a:pos x="430" y="112"/>
                  </a:cxn>
                  <a:cxn ang="0">
                    <a:pos x="192" y="0"/>
                  </a:cxn>
                  <a:cxn ang="0">
                    <a:pos x="22" y="159"/>
                  </a:cxn>
                  <a:cxn ang="0">
                    <a:pos x="25" y="459"/>
                  </a:cxn>
                  <a:cxn ang="0">
                    <a:pos x="158" y="788"/>
                  </a:cxn>
                  <a:cxn ang="0">
                    <a:pos x="217" y="813"/>
                  </a:cxn>
                  <a:cxn ang="0">
                    <a:pos x="277" y="850"/>
                  </a:cxn>
                  <a:cxn ang="0">
                    <a:pos x="155" y="951"/>
                  </a:cxn>
                  <a:cxn ang="0">
                    <a:pos x="239" y="1022"/>
                  </a:cxn>
                  <a:cxn ang="0">
                    <a:pos x="277" y="1069"/>
                  </a:cxn>
                  <a:cxn ang="0">
                    <a:pos x="323" y="1022"/>
                  </a:cxn>
                  <a:cxn ang="0">
                    <a:pos x="319" y="939"/>
                  </a:cxn>
                  <a:cxn ang="0">
                    <a:pos x="356" y="872"/>
                  </a:cxn>
                  <a:cxn ang="0">
                    <a:pos x="482" y="855"/>
                  </a:cxn>
                  <a:cxn ang="0">
                    <a:pos x="520" y="850"/>
                  </a:cxn>
                  <a:cxn ang="0">
                    <a:pos x="545" y="906"/>
                  </a:cxn>
                  <a:cxn ang="0">
                    <a:pos x="608" y="951"/>
                  </a:cxn>
                  <a:cxn ang="0">
                    <a:pos x="612" y="872"/>
                  </a:cxn>
                  <a:cxn ang="0">
                    <a:pos x="642" y="804"/>
                  </a:cxn>
                  <a:cxn ang="0">
                    <a:pos x="642" y="734"/>
                  </a:cxn>
                  <a:cxn ang="0">
                    <a:pos x="666" y="712"/>
                  </a:cxn>
                  <a:cxn ang="0">
                    <a:pos x="718" y="738"/>
                  </a:cxn>
                  <a:cxn ang="0">
                    <a:pos x="706" y="696"/>
                  </a:cxn>
                  <a:cxn ang="0">
                    <a:pos x="806" y="705"/>
                  </a:cxn>
                  <a:cxn ang="0">
                    <a:pos x="790" y="652"/>
                  </a:cxn>
                  <a:cxn ang="0">
                    <a:pos x="841" y="633"/>
                  </a:cxn>
                </a:cxnLst>
                <a:rect l="0" t="0" r="r" b="b"/>
                <a:pathLst>
                  <a:path w="1321" h="1069">
                    <a:moveTo>
                      <a:pt x="866" y="631"/>
                    </a:moveTo>
                    <a:lnTo>
                      <a:pt x="851" y="614"/>
                    </a:lnTo>
                    <a:lnTo>
                      <a:pt x="853" y="609"/>
                    </a:lnTo>
                    <a:lnTo>
                      <a:pt x="853" y="604"/>
                    </a:lnTo>
                    <a:lnTo>
                      <a:pt x="848" y="600"/>
                    </a:lnTo>
                    <a:lnTo>
                      <a:pt x="847" y="586"/>
                    </a:lnTo>
                    <a:lnTo>
                      <a:pt x="862" y="578"/>
                    </a:lnTo>
                    <a:lnTo>
                      <a:pt x="871" y="576"/>
                    </a:lnTo>
                    <a:lnTo>
                      <a:pt x="878" y="578"/>
                    </a:lnTo>
                    <a:lnTo>
                      <a:pt x="890" y="570"/>
                    </a:lnTo>
                    <a:lnTo>
                      <a:pt x="904" y="568"/>
                    </a:lnTo>
                    <a:lnTo>
                      <a:pt x="919" y="564"/>
                    </a:lnTo>
                    <a:lnTo>
                      <a:pt x="941" y="559"/>
                    </a:lnTo>
                    <a:lnTo>
                      <a:pt x="978" y="556"/>
                    </a:lnTo>
                    <a:lnTo>
                      <a:pt x="1020" y="501"/>
                    </a:lnTo>
                    <a:lnTo>
                      <a:pt x="1037" y="474"/>
                    </a:lnTo>
                    <a:lnTo>
                      <a:pt x="1052" y="483"/>
                    </a:lnTo>
                    <a:lnTo>
                      <a:pt x="1054" y="480"/>
                    </a:lnTo>
                    <a:lnTo>
                      <a:pt x="1081" y="464"/>
                    </a:lnTo>
                    <a:lnTo>
                      <a:pt x="1084" y="463"/>
                    </a:lnTo>
                    <a:lnTo>
                      <a:pt x="1086" y="460"/>
                    </a:lnTo>
                    <a:lnTo>
                      <a:pt x="1086" y="459"/>
                    </a:lnTo>
                    <a:lnTo>
                      <a:pt x="1088" y="452"/>
                    </a:lnTo>
                    <a:lnTo>
                      <a:pt x="1090" y="451"/>
                    </a:lnTo>
                    <a:lnTo>
                      <a:pt x="1092" y="446"/>
                    </a:lnTo>
                    <a:lnTo>
                      <a:pt x="1094" y="442"/>
                    </a:lnTo>
                    <a:lnTo>
                      <a:pt x="1097" y="439"/>
                    </a:lnTo>
                    <a:lnTo>
                      <a:pt x="1097" y="435"/>
                    </a:lnTo>
                    <a:lnTo>
                      <a:pt x="1100" y="427"/>
                    </a:lnTo>
                    <a:lnTo>
                      <a:pt x="1104" y="417"/>
                    </a:lnTo>
                    <a:lnTo>
                      <a:pt x="1105" y="416"/>
                    </a:lnTo>
                    <a:lnTo>
                      <a:pt x="1105" y="414"/>
                    </a:lnTo>
                    <a:lnTo>
                      <a:pt x="1105" y="411"/>
                    </a:lnTo>
                    <a:lnTo>
                      <a:pt x="1104" y="409"/>
                    </a:lnTo>
                    <a:lnTo>
                      <a:pt x="1102" y="403"/>
                    </a:lnTo>
                    <a:lnTo>
                      <a:pt x="1100" y="402"/>
                    </a:lnTo>
                    <a:lnTo>
                      <a:pt x="1102" y="399"/>
                    </a:lnTo>
                    <a:lnTo>
                      <a:pt x="1103" y="398"/>
                    </a:lnTo>
                    <a:lnTo>
                      <a:pt x="1104" y="398"/>
                    </a:lnTo>
                    <a:lnTo>
                      <a:pt x="1108" y="397"/>
                    </a:lnTo>
                    <a:lnTo>
                      <a:pt x="1110" y="396"/>
                    </a:lnTo>
                    <a:lnTo>
                      <a:pt x="1114" y="397"/>
                    </a:lnTo>
                    <a:lnTo>
                      <a:pt x="1116" y="397"/>
                    </a:lnTo>
                    <a:lnTo>
                      <a:pt x="1120" y="398"/>
                    </a:lnTo>
                    <a:lnTo>
                      <a:pt x="1122" y="399"/>
                    </a:lnTo>
                    <a:lnTo>
                      <a:pt x="1124" y="400"/>
                    </a:lnTo>
                    <a:lnTo>
                      <a:pt x="1129" y="404"/>
                    </a:lnTo>
                    <a:lnTo>
                      <a:pt x="1132" y="405"/>
                    </a:lnTo>
                    <a:lnTo>
                      <a:pt x="1135" y="408"/>
                    </a:lnTo>
                    <a:lnTo>
                      <a:pt x="1138" y="409"/>
                    </a:lnTo>
                    <a:lnTo>
                      <a:pt x="1140" y="410"/>
                    </a:lnTo>
                    <a:lnTo>
                      <a:pt x="1142" y="411"/>
                    </a:lnTo>
                    <a:lnTo>
                      <a:pt x="1144" y="411"/>
                    </a:lnTo>
                    <a:lnTo>
                      <a:pt x="1146" y="411"/>
                    </a:lnTo>
                    <a:lnTo>
                      <a:pt x="1148" y="411"/>
                    </a:lnTo>
                    <a:lnTo>
                      <a:pt x="1151" y="411"/>
                    </a:lnTo>
                    <a:lnTo>
                      <a:pt x="1153" y="410"/>
                    </a:lnTo>
                    <a:lnTo>
                      <a:pt x="1156" y="408"/>
                    </a:lnTo>
                    <a:lnTo>
                      <a:pt x="1158" y="406"/>
                    </a:lnTo>
                    <a:lnTo>
                      <a:pt x="1160" y="404"/>
                    </a:lnTo>
                    <a:lnTo>
                      <a:pt x="1163" y="402"/>
                    </a:lnTo>
                    <a:lnTo>
                      <a:pt x="1165" y="399"/>
                    </a:lnTo>
                    <a:lnTo>
                      <a:pt x="1168" y="396"/>
                    </a:lnTo>
                    <a:lnTo>
                      <a:pt x="1168" y="393"/>
                    </a:lnTo>
                    <a:lnTo>
                      <a:pt x="1169" y="392"/>
                    </a:lnTo>
                    <a:lnTo>
                      <a:pt x="1169" y="388"/>
                    </a:lnTo>
                    <a:lnTo>
                      <a:pt x="1169" y="387"/>
                    </a:lnTo>
                    <a:lnTo>
                      <a:pt x="1169" y="385"/>
                    </a:lnTo>
                    <a:lnTo>
                      <a:pt x="1166" y="379"/>
                    </a:lnTo>
                    <a:lnTo>
                      <a:pt x="1166" y="376"/>
                    </a:lnTo>
                    <a:lnTo>
                      <a:pt x="1166" y="375"/>
                    </a:lnTo>
                    <a:lnTo>
                      <a:pt x="1168" y="373"/>
                    </a:lnTo>
                    <a:lnTo>
                      <a:pt x="1170" y="372"/>
                    </a:lnTo>
                    <a:lnTo>
                      <a:pt x="1172" y="372"/>
                    </a:lnTo>
                    <a:lnTo>
                      <a:pt x="1174" y="373"/>
                    </a:lnTo>
                    <a:lnTo>
                      <a:pt x="1176" y="373"/>
                    </a:lnTo>
                    <a:lnTo>
                      <a:pt x="1180" y="376"/>
                    </a:lnTo>
                    <a:lnTo>
                      <a:pt x="1182" y="378"/>
                    </a:lnTo>
                    <a:lnTo>
                      <a:pt x="1184" y="379"/>
                    </a:lnTo>
                    <a:lnTo>
                      <a:pt x="1186" y="379"/>
                    </a:lnTo>
                    <a:lnTo>
                      <a:pt x="1188" y="380"/>
                    </a:lnTo>
                    <a:lnTo>
                      <a:pt x="1190" y="380"/>
                    </a:lnTo>
                    <a:lnTo>
                      <a:pt x="1193" y="380"/>
                    </a:lnTo>
                    <a:lnTo>
                      <a:pt x="1195" y="380"/>
                    </a:lnTo>
                    <a:lnTo>
                      <a:pt x="1198" y="379"/>
                    </a:lnTo>
                    <a:lnTo>
                      <a:pt x="1204" y="378"/>
                    </a:lnTo>
                    <a:lnTo>
                      <a:pt x="1207" y="375"/>
                    </a:lnTo>
                    <a:lnTo>
                      <a:pt x="1211" y="374"/>
                    </a:lnTo>
                    <a:lnTo>
                      <a:pt x="1213" y="374"/>
                    </a:lnTo>
                    <a:lnTo>
                      <a:pt x="1216" y="373"/>
                    </a:lnTo>
                    <a:lnTo>
                      <a:pt x="1219" y="373"/>
                    </a:lnTo>
                    <a:lnTo>
                      <a:pt x="1223" y="372"/>
                    </a:lnTo>
                    <a:lnTo>
                      <a:pt x="1228" y="370"/>
                    </a:lnTo>
                    <a:lnTo>
                      <a:pt x="1229" y="370"/>
                    </a:lnTo>
                    <a:lnTo>
                      <a:pt x="1234" y="369"/>
                    </a:lnTo>
                    <a:lnTo>
                      <a:pt x="1236" y="370"/>
                    </a:lnTo>
                    <a:lnTo>
                      <a:pt x="1237" y="370"/>
                    </a:lnTo>
                    <a:lnTo>
                      <a:pt x="1240" y="372"/>
                    </a:lnTo>
                    <a:lnTo>
                      <a:pt x="1242" y="373"/>
                    </a:lnTo>
                    <a:lnTo>
                      <a:pt x="1244" y="376"/>
                    </a:lnTo>
                    <a:lnTo>
                      <a:pt x="1248" y="373"/>
                    </a:lnTo>
                    <a:lnTo>
                      <a:pt x="1249" y="372"/>
                    </a:lnTo>
                    <a:lnTo>
                      <a:pt x="1267" y="355"/>
                    </a:lnTo>
                    <a:lnTo>
                      <a:pt x="1314" y="352"/>
                    </a:lnTo>
                    <a:lnTo>
                      <a:pt x="1312" y="342"/>
                    </a:lnTo>
                    <a:lnTo>
                      <a:pt x="1308" y="322"/>
                    </a:lnTo>
                    <a:lnTo>
                      <a:pt x="1319" y="316"/>
                    </a:lnTo>
                    <a:lnTo>
                      <a:pt x="1321" y="255"/>
                    </a:lnTo>
                    <a:lnTo>
                      <a:pt x="1321" y="184"/>
                    </a:lnTo>
                    <a:lnTo>
                      <a:pt x="1259" y="166"/>
                    </a:lnTo>
                    <a:lnTo>
                      <a:pt x="1184" y="171"/>
                    </a:lnTo>
                    <a:lnTo>
                      <a:pt x="1126" y="142"/>
                    </a:lnTo>
                    <a:lnTo>
                      <a:pt x="1075" y="151"/>
                    </a:lnTo>
                    <a:lnTo>
                      <a:pt x="1026" y="200"/>
                    </a:lnTo>
                    <a:lnTo>
                      <a:pt x="947" y="247"/>
                    </a:lnTo>
                    <a:lnTo>
                      <a:pt x="733" y="262"/>
                    </a:lnTo>
                    <a:lnTo>
                      <a:pt x="654" y="230"/>
                    </a:lnTo>
                    <a:lnTo>
                      <a:pt x="605" y="242"/>
                    </a:lnTo>
                    <a:lnTo>
                      <a:pt x="563" y="247"/>
                    </a:lnTo>
                    <a:lnTo>
                      <a:pt x="488" y="222"/>
                    </a:lnTo>
                    <a:lnTo>
                      <a:pt x="421" y="222"/>
                    </a:lnTo>
                    <a:lnTo>
                      <a:pt x="421" y="188"/>
                    </a:lnTo>
                    <a:lnTo>
                      <a:pt x="434" y="154"/>
                    </a:lnTo>
                    <a:lnTo>
                      <a:pt x="430" y="112"/>
                    </a:lnTo>
                    <a:lnTo>
                      <a:pt x="371" y="67"/>
                    </a:lnTo>
                    <a:lnTo>
                      <a:pt x="308" y="46"/>
                    </a:lnTo>
                    <a:lnTo>
                      <a:pt x="242" y="30"/>
                    </a:lnTo>
                    <a:lnTo>
                      <a:pt x="192" y="0"/>
                    </a:lnTo>
                    <a:lnTo>
                      <a:pt x="172" y="25"/>
                    </a:lnTo>
                    <a:lnTo>
                      <a:pt x="116" y="63"/>
                    </a:lnTo>
                    <a:lnTo>
                      <a:pt x="67" y="100"/>
                    </a:lnTo>
                    <a:lnTo>
                      <a:pt x="22" y="159"/>
                    </a:lnTo>
                    <a:lnTo>
                      <a:pt x="12" y="267"/>
                    </a:lnTo>
                    <a:lnTo>
                      <a:pt x="22" y="338"/>
                    </a:lnTo>
                    <a:lnTo>
                      <a:pt x="37" y="400"/>
                    </a:lnTo>
                    <a:lnTo>
                      <a:pt x="25" y="459"/>
                    </a:lnTo>
                    <a:lnTo>
                      <a:pt x="0" y="538"/>
                    </a:lnTo>
                    <a:lnTo>
                      <a:pt x="36" y="624"/>
                    </a:lnTo>
                    <a:lnTo>
                      <a:pt x="76" y="693"/>
                    </a:lnTo>
                    <a:lnTo>
                      <a:pt x="158" y="788"/>
                    </a:lnTo>
                    <a:lnTo>
                      <a:pt x="158" y="816"/>
                    </a:lnTo>
                    <a:lnTo>
                      <a:pt x="175" y="825"/>
                    </a:lnTo>
                    <a:lnTo>
                      <a:pt x="200" y="825"/>
                    </a:lnTo>
                    <a:lnTo>
                      <a:pt x="217" y="813"/>
                    </a:lnTo>
                    <a:lnTo>
                      <a:pt x="247" y="795"/>
                    </a:lnTo>
                    <a:lnTo>
                      <a:pt x="272" y="800"/>
                    </a:lnTo>
                    <a:lnTo>
                      <a:pt x="277" y="825"/>
                    </a:lnTo>
                    <a:lnTo>
                      <a:pt x="277" y="850"/>
                    </a:lnTo>
                    <a:lnTo>
                      <a:pt x="247" y="842"/>
                    </a:lnTo>
                    <a:lnTo>
                      <a:pt x="197" y="864"/>
                    </a:lnTo>
                    <a:lnTo>
                      <a:pt x="167" y="909"/>
                    </a:lnTo>
                    <a:lnTo>
                      <a:pt x="155" y="951"/>
                    </a:lnTo>
                    <a:lnTo>
                      <a:pt x="175" y="997"/>
                    </a:lnTo>
                    <a:lnTo>
                      <a:pt x="205" y="1039"/>
                    </a:lnTo>
                    <a:lnTo>
                      <a:pt x="226" y="1039"/>
                    </a:lnTo>
                    <a:lnTo>
                      <a:pt x="239" y="1022"/>
                    </a:lnTo>
                    <a:lnTo>
                      <a:pt x="251" y="1002"/>
                    </a:lnTo>
                    <a:lnTo>
                      <a:pt x="259" y="1018"/>
                    </a:lnTo>
                    <a:lnTo>
                      <a:pt x="264" y="1052"/>
                    </a:lnTo>
                    <a:lnTo>
                      <a:pt x="277" y="1069"/>
                    </a:lnTo>
                    <a:lnTo>
                      <a:pt x="302" y="1069"/>
                    </a:lnTo>
                    <a:lnTo>
                      <a:pt x="331" y="1069"/>
                    </a:lnTo>
                    <a:lnTo>
                      <a:pt x="331" y="1039"/>
                    </a:lnTo>
                    <a:lnTo>
                      <a:pt x="323" y="1022"/>
                    </a:lnTo>
                    <a:lnTo>
                      <a:pt x="331" y="1005"/>
                    </a:lnTo>
                    <a:lnTo>
                      <a:pt x="340" y="976"/>
                    </a:lnTo>
                    <a:lnTo>
                      <a:pt x="331" y="963"/>
                    </a:lnTo>
                    <a:lnTo>
                      <a:pt x="319" y="939"/>
                    </a:lnTo>
                    <a:lnTo>
                      <a:pt x="319" y="909"/>
                    </a:lnTo>
                    <a:lnTo>
                      <a:pt x="319" y="908"/>
                    </a:lnTo>
                    <a:lnTo>
                      <a:pt x="323" y="867"/>
                    </a:lnTo>
                    <a:lnTo>
                      <a:pt x="356" y="872"/>
                    </a:lnTo>
                    <a:lnTo>
                      <a:pt x="412" y="884"/>
                    </a:lnTo>
                    <a:lnTo>
                      <a:pt x="457" y="876"/>
                    </a:lnTo>
                    <a:lnTo>
                      <a:pt x="462" y="850"/>
                    </a:lnTo>
                    <a:lnTo>
                      <a:pt x="482" y="855"/>
                    </a:lnTo>
                    <a:lnTo>
                      <a:pt x="482" y="872"/>
                    </a:lnTo>
                    <a:lnTo>
                      <a:pt x="494" y="901"/>
                    </a:lnTo>
                    <a:lnTo>
                      <a:pt x="511" y="884"/>
                    </a:lnTo>
                    <a:lnTo>
                      <a:pt x="520" y="850"/>
                    </a:lnTo>
                    <a:lnTo>
                      <a:pt x="536" y="847"/>
                    </a:lnTo>
                    <a:lnTo>
                      <a:pt x="533" y="864"/>
                    </a:lnTo>
                    <a:lnTo>
                      <a:pt x="524" y="889"/>
                    </a:lnTo>
                    <a:lnTo>
                      <a:pt x="545" y="906"/>
                    </a:lnTo>
                    <a:lnTo>
                      <a:pt x="562" y="918"/>
                    </a:lnTo>
                    <a:lnTo>
                      <a:pt x="570" y="934"/>
                    </a:lnTo>
                    <a:lnTo>
                      <a:pt x="595" y="951"/>
                    </a:lnTo>
                    <a:lnTo>
                      <a:pt x="608" y="951"/>
                    </a:lnTo>
                    <a:lnTo>
                      <a:pt x="625" y="934"/>
                    </a:lnTo>
                    <a:lnTo>
                      <a:pt x="625" y="914"/>
                    </a:lnTo>
                    <a:lnTo>
                      <a:pt x="625" y="884"/>
                    </a:lnTo>
                    <a:lnTo>
                      <a:pt x="612" y="872"/>
                    </a:lnTo>
                    <a:lnTo>
                      <a:pt x="604" y="855"/>
                    </a:lnTo>
                    <a:lnTo>
                      <a:pt x="604" y="830"/>
                    </a:lnTo>
                    <a:lnTo>
                      <a:pt x="617" y="808"/>
                    </a:lnTo>
                    <a:lnTo>
                      <a:pt x="642" y="804"/>
                    </a:lnTo>
                    <a:lnTo>
                      <a:pt x="646" y="783"/>
                    </a:lnTo>
                    <a:lnTo>
                      <a:pt x="637" y="768"/>
                    </a:lnTo>
                    <a:lnTo>
                      <a:pt x="646" y="751"/>
                    </a:lnTo>
                    <a:lnTo>
                      <a:pt x="642" y="734"/>
                    </a:lnTo>
                    <a:lnTo>
                      <a:pt x="634" y="708"/>
                    </a:lnTo>
                    <a:lnTo>
                      <a:pt x="650" y="708"/>
                    </a:lnTo>
                    <a:lnTo>
                      <a:pt x="659" y="716"/>
                    </a:lnTo>
                    <a:lnTo>
                      <a:pt x="666" y="712"/>
                    </a:lnTo>
                    <a:lnTo>
                      <a:pt x="679" y="699"/>
                    </a:lnTo>
                    <a:lnTo>
                      <a:pt x="692" y="716"/>
                    </a:lnTo>
                    <a:lnTo>
                      <a:pt x="706" y="729"/>
                    </a:lnTo>
                    <a:lnTo>
                      <a:pt x="718" y="738"/>
                    </a:lnTo>
                    <a:lnTo>
                      <a:pt x="746" y="738"/>
                    </a:lnTo>
                    <a:lnTo>
                      <a:pt x="750" y="724"/>
                    </a:lnTo>
                    <a:lnTo>
                      <a:pt x="742" y="712"/>
                    </a:lnTo>
                    <a:lnTo>
                      <a:pt x="706" y="696"/>
                    </a:lnTo>
                    <a:lnTo>
                      <a:pt x="701" y="674"/>
                    </a:lnTo>
                    <a:lnTo>
                      <a:pt x="726" y="666"/>
                    </a:lnTo>
                    <a:lnTo>
                      <a:pt x="750" y="679"/>
                    </a:lnTo>
                    <a:lnTo>
                      <a:pt x="806" y="705"/>
                    </a:lnTo>
                    <a:lnTo>
                      <a:pt x="821" y="704"/>
                    </a:lnTo>
                    <a:lnTo>
                      <a:pt x="803" y="686"/>
                    </a:lnTo>
                    <a:lnTo>
                      <a:pt x="790" y="668"/>
                    </a:lnTo>
                    <a:lnTo>
                      <a:pt x="790" y="652"/>
                    </a:lnTo>
                    <a:lnTo>
                      <a:pt x="804" y="645"/>
                    </a:lnTo>
                    <a:lnTo>
                      <a:pt x="816" y="643"/>
                    </a:lnTo>
                    <a:lnTo>
                      <a:pt x="821" y="633"/>
                    </a:lnTo>
                    <a:lnTo>
                      <a:pt x="841" y="633"/>
                    </a:lnTo>
                    <a:lnTo>
                      <a:pt x="864" y="632"/>
                    </a:lnTo>
                    <a:lnTo>
                      <a:pt x="866" y="631"/>
                    </a:lnTo>
                    <a:close/>
                  </a:path>
                </a:pathLst>
              </a:custGeom>
              <a:solidFill>
                <a:srgbClr val="EAEAEA"/>
              </a:solidFill>
              <a:ln w="9525" cmpd="sng">
                <a:solidFill>
                  <a:srgbClr val="777777"/>
                </a:solidFill>
                <a:prstDash val="solid"/>
                <a:round/>
                <a:headEnd/>
                <a:tailEnd/>
              </a:ln>
              <a:effectLst>
                <a:outerShdw dist="107763" dir="2700000" algn="ctr" rotWithShape="0">
                  <a:srgbClr val="808080">
                    <a:alpha val="50000"/>
                  </a:srgbClr>
                </a:outerShdw>
              </a:effectLst>
            </p:spPr>
            <p:txBody>
              <a:bodyPr/>
              <a:lstStyle/>
              <a:p>
                <a:pPr latinLnBrk="0">
                  <a:defRPr/>
                </a:pPr>
                <a:endParaRPr kumimoji="0" lang="ko-KR" altLang="en-US" dirty="0">
                  <a:ea typeface="+mn-ea"/>
                </a:endParaRPr>
              </a:p>
            </p:txBody>
          </p:sp>
          <p:sp>
            <p:nvSpPr>
              <p:cNvPr id="43" name="Freeform 43"/>
              <p:cNvSpPr>
                <a:spLocks/>
              </p:cNvSpPr>
              <p:nvPr/>
            </p:nvSpPr>
            <p:spPr bwMode="auto">
              <a:xfrm>
                <a:off x="5003089" y="4839906"/>
                <a:ext cx="713054" cy="453705"/>
              </a:xfrm>
              <a:custGeom>
                <a:avLst/>
                <a:gdLst/>
                <a:ahLst/>
                <a:cxnLst>
                  <a:cxn ang="0">
                    <a:pos x="196" y="385"/>
                  </a:cxn>
                  <a:cxn ang="0">
                    <a:pos x="211" y="376"/>
                  </a:cxn>
                  <a:cxn ang="0">
                    <a:pos x="213" y="349"/>
                  </a:cxn>
                  <a:cxn ang="0">
                    <a:pos x="226" y="336"/>
                  </a:cxn>
                  <a:cxn ang="0">
                    <a:pos x="247" y="328"/>
                  </a:cxn>
                  <a:cxn ang="0">
                    <a:pos x="253" y="304"/>
                  </a:cxn>
                  <a:cxn ang="0">
                    <a:pos x="264" y="309"/>
                  </a:cxn>
                  <a:cxn ang="0">
                    <a:pos x="266" y="327"/>
                  </a:cxn>
                  <a:cxn ang="0">
                    <a:pos x="298" y="330"/>
                  </a:cxn>
                  <a:cxn ang="0">
                    <a:pos x="318" y="325"/>
                  </a:cxn>
                  <a:cxn ang="0">
                    <a:pos x="304" y="282"/>
                  </a:cxn>
                  <a:cxn ang="0">
                    <a:pos x="321" y="267"/>
                  </a:cxn>
                  <a:cxn ang="0">
                    <a:pos x="310" y="251"/>
                  </a:cxn>
                  <a:cxn ang="0">
                    <a:pos x="322" y="263"/>
                  </a:cxn>
                  <a:cxn ang="0">
                    <a:pos x="338" y="271"/>
                  </a:cxn>
                  <a:cxn ang="0">
                    <a:pos x="362" y="269"/>
                  </a:cxn>
                  <a:cxn ang="0">
                    <a:pos x="384" y="253"/>
                  </a:cxn>
                  <a:cxn ang="0">
                    <a:pos x="393" y="239"/>
                  </a:cxn>
                  <a:cxn ang="0">
                    <a:pos x="403" y="231"/>
                  </a:cxn>
                  <a:cxn ang="0">
                    <a:pos x="411" y="220"/>
                  </a:cxn>
                  <a:cxn ang="0">
                    <a:pos x="409" y="201"/>
                  </a:cxn>
                  <a:cxn ang="0">
                    <a:pos x="417" y="189"/>
                  </a:cxn>
                  <a:cxn ang="0">
                    <a:pos x="430" y="179"/>
                  </a:cxn>
                  <a:cxn ang="0">
                    <a:pos x="433" y="163"/>
                  </a:cxn>
                  <a:cxn ang="0">
                    <a:pos x="433" y="145"/>
                  </a:cxn>
                  <a:cxn ang="0">
                    <a:pos x="435" y="131"/>
                  </a:cxn>
                  <a:cxn ang="0">
                    <a:pos x="444" y="91"/>
                  </a:cxn>
                  <a:cxn ang="0">
                    <a:pos x="457" y="69"/>
                  </a:cxn>
                  <a:cxn ang="0">
                    <a:pos x="477" y="73"/>
                  </a:cxn>
                  <a:cxn ang="0">
                    <a:pos x="478" y="57"/>
                  </a:cxn>
                  <a:cxn ang="0">
                    <a:pos x="468" y="49"/>
                  </a:cxn>
                  <a:cxn ang="0">
                    <a:pos x="464" y="22"/>
                  </a:cxn>
                  <a:cxn ang="0">
                    <a:pos x="447" y="1"/>
                  </a:cxn>
                  <a:cxn ang="0">
                    <a:pos x="429" y="4"/>
                  </a:cxn>
                  <a:cxn ang="0">
                    <a:pos x="408" y="10"/>
                  </a:cxn>
                  <a:cxn ang="0">
                    <a:pos x="394" y="10"/>
                  </a:cxn>
                  <a:cxn ang="0">
                    <a:pos x="380" y="3"/>
                  </a:cxn>
                  <a:cxn ang="0">
                    <a:pos x="379" y="18"/>
                  </a:cxn>
                  <a:cxn ang="0">
                    <a:pos x="373" y="33"/>
                  </a:cxn>
                  <a:cxn ang="0">
                    <a:pos x="358" y="42"/>
                  </a:cxn>
                  <a:cxn ang="0">
                    <a:pos x="345" y="39"/>
                  </a:cxn>
                  <a:cxn ang="0">
                    <a:pos x="326" y="28"/>
                  </a:cxn>
                  <a:cxn ang="0">
                    <a:pos x="312" y="30"/>
                  </a:cxn>
                  <a:cxn ang="0">
                    <a:pos x="315" y="47"/>
                  </a:cxn>
                  <a:cxn ang="0">
                    <a:pos x="302" y="77"/>
                  </a:cxn>
                  <a:cxn ang="0">
                    <a:pos x="291" y="95"/>
                  </a:cxn>
                  <a:cxn ang="0">
                    <a:pos x="151" y="190"/>
                  </a:cxn>
                  <a:cxn ang="0">
                    <a:pos x="72" y="209"/>
                  </a:cxn>
                  <a:cxn ang="0">
                    <a:pos x="76" y="262"/>
                  </a:cxn>
                  <a:cxn ang="0">
                    <a:pos x="0" y="283"/>
                  </a:cxn>
                  <a:cxn ang="0">
                    <a:pos x="12" y="348"/>
                  </a:cxn>
                  <a:cxn ang="0">
                    <a:pos x="40" y="359"/>
                  </a:cxn>
                  <a:cxn ang="0">
                    <a:pos x="57" y="357"/>
                  </a:cxn>
                  <a:cxn ang="0">
                    <a:pos x="90" y="363"/>
                  </a:cxn>
                  <a:cxn ang="0">
                    <a:pos x="146" y="313"/>
                  </a:cxn>
                  <a:cxn ang="0">
                    <a:pos x="139" y="365"/>
                  </a:cxn>
                  <a:cxn ang="0">
                    <a:pos x="147" y="395"/>
                  </a:cxn>
                  <a:cxn ang="0">
                    <a:pos x="154" y="403"/>
                  </a:cxn>
                  <a:cxn ang="0">
                    <a:pos x="160" y="411"/>
                  </a:cxn>
                  <a:cxn ang="0">
                    <a:pos x="168" y="397"/>
                  </a:cxn>
                  <a:cxn ang="0">
                    <a:pos x="171" y="382"/>
                  </a:cxn>
                  <a:cxn ang="0">
                    <a:pos x="189" y="401"/>
                  </a:cxn>
                  <a:cxn ang="0">
                    <a:pos x="183" y="364"/>
                  </a:cxn>
                </a:cxnLst>
                <a:rect l="0" t="0" r="r" b="b"/>
                <a:pathLst>
                  <a:path w="488" h="414">
                    <a:moveTo>
                      <a:pt x="194" y="361"/>
                    </a:moveTo>
                    <a:lnTo>
                      <a:pt x="194" y="365"/>
                    </a:lnTo>
                    <a:lnTo>
                      <a:pt x="193" y="371"/>
                    </a:lnTo>
                    <a:lnTo>
                      <a:pt x="194" y="373"/>
                    </a:lnTo>
                    <a:lnTo>
                      <a:pt x="198" y="378"/>
                    </a:lnTo>
                    <a:lnTo>
                      <a:pt x="196" y="385"/>
                    </a:lnTo>
                    <a:lnTo>
                      <a:pt x="199" y="387"/>
                    </a:lnTo>
                    <a:lnTo>
                      <a:pt x="200" y="393"/>
                    </a:lnTo>
                    <a:lnTo>
                      <a:pt x="202" y="394"/>
                    </a:lnTo>
                    <a:lnTo>
                      <a:pt x="206" y="390"/>
                    </a:lnTo>
                    <a:lnTo>
                      <a:pt x="208" y="385"/>
                    </a:lnTo>
                    <a:lnTo>
                      <a:pt x="211" y="376"/>
                    </a:lnTo>
                    <a:lnTo>
                      <a:pt x="208" y="372"/>
                    </a:lnTo>
                    <a:lnTo>
                      <a:pt x="207" y="371"/>
                    </a:lnTo>
                    <a:lnTo>
                      <a:pt x="206" y="366"/>
                    </a:lnTo>
                    <a:lnTo>
                      <a:pt x="212" y="366"/>
                    </a:lnTo>
                    <a:lnTo>
                      <a:pt x="216" y="357"/>
                    </a:lnTo>
                    <a:lnTo>
                      <a:pt x="213" y="349"/>
                    </a:lnTo>
                    <a:lnTo>
                      <a:pt x="213" y="346"/>
                    </a:lnTo>
                    <a:lnTo>
                      <a:pt x="214" y="343"/>
                    </a:lnTo>
                    <a:lnTo>
                      <a:pt x="216" y="341"/>
                    </a:lnTo>
                    <a:lnTo>
                      <a:pt x="217" y="340"/>
                    </a:lnTo>
                    <a:lnTo>
                      <a:pt x="222" y="340"/>
                    </a:lnTo>
                    <a:lnTo>
                      <a:pt x="226" y="336"/>
                    </a:lnTo>
                    <a:lnTo>
                      <a:pt x="228" y="336"/>
                    </a:lnTo>
                    <a:lnTo>
                      <a:pt x="236" y="328"/>
                    </a:lnTo>
                    <a:lnTo>
                      <a:pt x="238" y="329"/>
                    </a:lnTo>
                    <a:lnTo>
                      <a:pt x="240" y="328"/>
                    </a:lnTo>
                    <a:lnTo>
                      <a:pt x="242" y="328"/>
                    </a:lnTo>
                    <a:lnTo>
                      <a:pt x="247" y="328"/>
                    </a:lnTo>
                    <a:lnTo>
                      <a:pt x="250" y="329"/>
                    </a:lnTo>
                    <a:lnTo>
                      <a:pt x="250" y="328"/>
                    </a:lnTo>
                    <a:lnTo>
                      <a:pt x="250" y="323"/>
                    </a:lnTo>
                    <a:lnTo>
                      <a:pt x="250" y="321"/>
                    </a:lnTo>
                    <a:lnTo>
                      <a:pt x="250" y="316"/>
                    </a:lnTo>
                    <a:lnTo>
                      <a:pt x="253" y="304"/>
                    </a:lnTo>
                    <a:lnTo>
                      <a:pt x="253" y="301"/>
                    </a:lnTo>
                    <a:lnTo>
                      <a:pt x="253" y="306"/>
                    </a:lnTo>
                    <a:lnTo>
                      <a:pt x="254" y="311"/>
                    </a:lnTo>
                    <a:lnTo>
                      <a:pt x="256" y="309"/>
                    </a:lnTo>
                    <a:lnTo>
                      <a:pt x="258" y="309"/>
                    </a:lnTo>
                    <a:lnTo>
                      <a:pt x="264" y="309"/>
                    </a:lnTo>
                    <a:lnTo>
                      <a:pt x="266" y="311"/>
                    </a:lnTo>
                    <a:lnTo>
                      <a:pt x="259" y="312"/>
                    </a:lnTo>
                    <a:lnTo>
                      <a:pt x="258" y="317"/>
                    </a:lnTo>
                    <a:lnTo>
                      <a:pt x="256" y="322"/>
                    </a:lnTo>
                    <a:lnTo>
                      <a:pt x="258" y="324"/>
                    </a:lnTo>
                    <a:lnTo>
                      <a:pt x="266" y="327"/>
                    </a:lnTo>
                    <a:lnTo>
                      <a:pt x="277" y="325"/>
                    </a:lnTo>
                    <a:lnTo>
                      <a:pt x="279" y="325"/>
                    </a:lnTo>
                    <a:lnTo>
                      <a:pt x="282" y="322"/>
                    </a:lnTo>
                    <a:lnTo>
                      <a:pt x="290" y="341"/>
                    </a:lnTo>
                    <a:lnTo>
                      <a:pt x="297" y="330"/>
                    </a:lnTo>
                    <a:lnTo>
                      <a:pt x="298" y="330"/>
                    </a:lnTo>
                    <a:lnTo>
                      <a:pt x="301" y="333"/>
                    </a:lnTo>
                    <a:lnTo>
                      <a:pt x="303" y="336"/>
                    </a:lnTo>
                    <a:lnTo>
                      <a:pt x="312" y="337"/>
                    </a:lnTo>
                    <a:lnTo>
                      <a:pt x="313" y="336"/>
                    </a:lnTo>
                    <a:lnTo>
                      <a:pt x="314" y="331"/>
                    </a:lnTo>
                    <a:lnTo>
                      <a:pt x="318" y="325"/>
                    </a:lnTo>
                    <a:lnTo>
                      <a:pt x="318" y="315"/>
                    </a:lnTo>
                    <a:lnTo>
                      <a:pt x="314" y="307"/>
                    </a:lnTo>
                    <a:lnTo>
                      <a:pt x="306" y="295"/>
                    </a:lnTo>
                    <a:lnTo>
                      <a:pt x="302" y="289"/>
                    </a:lnTo>
                    <a:lnTo>
                      <a:pt x="307" y="285"/>
                    </a:lnTo>
                    <a:lnTo>
                      <a:pt x="304" y="282"/>
                    </a:lnTo>
                    <a:lnTo>
                      <a:pt x="303" y="282"/>
                    </a:lnTo>
                    <a:lnTo>
                      <a:pt x="307" y="274"/>
                    </a:lnTo>
                    <a:lnTo>
                      <a:pt x="310" y="273"/>
                    </a:lnTo>
                    <a:lnTo>
                      <a:pt x="318" y="270"/>
                    </a:lnTo>
                    <a:lnTo>
                      <a:pt x="321" y="268"/>
                    </a:lnTo>
                    <a:lnTo>
                      <a:pt x="321" y="267"/>
                    </a:lnTo>
                    <a:lnTo>
                      <a:pt x="320" y="264"/>
                    </a:lnTo>
                    <a:lnTo>
                      <a:pt x="319" y="263"/>
                    </a:lnTo>
                    <a:lnTo>
                      <a:pt x="314" y="259"/>
                    </a:lnTo>
                    <a:lnTo>
                      <a:pt x="314" y="258"/>
                    </a:lnTo>
                    <a:lnTo>
                      <a:pt x="312" y="256"/>
                    </a:lnTo>
                    <a:lnTo>
                      <a:pt x="310" y="251"/>
                    </a:lnTo>
                    <a:lnTo>
                      <a:pt x="309" y="249"/>
                    </a:lnTo>
                    <a:lnTo>
                      <a:pt x="304" y="240"/>
                    </a:lnTo>
                    <a:lnTo>
                      <a:pt x="304" y="237"/>
                    </a:lnTo>
                    <a:lnTo>
                      <a:pt x="316" y="259"/>
                    </a:lnTo>
                    <a:lnTo>
                      <a:pt x="320" y="262"/>
                    </a:lnTo>
                    <a:lnTo>
                      <a:pt x="322" y="263"/>
                    </a:lnTo>
                    <a:lnTo>
                      <a:pt x="326" y="269"/>
                    </a:lnTo>
                    <a:lnTo>
                      <a:pt x="327" y="271"/>
                    </a:lnTo>
                    <a:lnTo>
                      <a:pt x="330" y="273"/>
                    </a:lnTo>
                    <a:lnTo>
                      <a:pt x="336" y="271"/>
                    </a:lnTo>
                    <a:lnTo>
                      <a:pt x="337" y="271"/>
                    </a:lnTo>
                    <a:lnTo>
                      <a:pt x="338" y="271"/>
                    </a:lnTo>
                    <a:lnTo>
                      <a:pt x="339" y="270"/>
                    </a:lnTo>
                    <a:lnTo>
                      <a:pt x="343" y="267"/>
                    </a:lnTo>
                    <a:lnTo>
                      <a:pt x="346" y="264"/>
                    </a:lnTo>
                    <a:lnTo>
                      <a:pt x="351" y="263"/>
                    </a:lnTo>
                    <a:lnTo>
                      <a:pt x="357" y="267"/>
                    </a:lnTo>
                    <a:lnTo>
                      <a:pt x="362" y="269"/>
                    </a:lnTo>
                    <a:lnTo>
                      <a:pt x="368" y="269"/>
                    </a:lnTo>
                    <a:lnTo>
                      <a:pt x="372" y="265"/>
                    </a:lnTo>
                    <a:lnTo>
                      <a:pt x="378" y="263"/>
                    </a:lnTo>
                    <a:lnTo>
                      <a:pt x="382" y="257"/>
                    </a:lnTo>
                    <a:lnTo>
                      <a:pt x="384" y="255"/>
                    </a:lnTo>
                    <a:lnTo>
                      <a:pt x="384" y="253"/>
                    </a:lnTo>
                    <a:lnTo>
                      <a:pt x="385" y="249"/>
                    </a:lnTo>
                    <a:lnTo>
                      <a:pt x="385" y="245"/>
                    </a:lnTo>
                    <a:lnTo>
                      <a:pt x="387" y="240"/>
                    </a:lnTo>
                    <a:lnTo>
                      <a:pt x="388" y="240"/>
                    </a:lnTo>
                    <a:lnTo>
                      <a:pt x="391" y="239"/>
                    </a:lnTo>
                    <a:lnTo>
                      <a:pt x="393" y="239"/>
                    </a:lnTo>
                    <a:lnTo>
                      <a:pt x="394" y="239"/>
                    </a:lnTo>
                    <a:lnTo>
                      <a:pt x="397" y="238"/>
                    </a:lnTo>
                    <a:lnTo>
                      <a:pt x="398" y="235"/>
                    </a:lnTo>
                    <a:lnTo>
                      <a:pt x="400" y="231"/>
                    </a:lnTo>
                    <a:lnTo>
                      <a:pt x="402" y="231"/>
                    </a:lnTo>
                    <a:lnTo>
                      <a:pt x="403" y="231"/>
                    </a:lnTo>
                    <a:lnTo>
                      <a:pt x="404" y="232"/>
                    </a:lnTo>
                    <a:lnTo>
                      <a:pt x="405" y="234"/>
                    </a:lnTo>
                    <a:lnTo>
                      <a:pt x="405" y="235"/>
                    </a:lnTo>
                    <a:lnTo>
                      <a:pt x="408" y="234"/>
                    </a:lnTo>
                    <a:lnTo>
                      <a:pt x="411" y="227"/>
                    </a:lnTo>
                    <a:lnTo>
                      <a:pt x="411" y="220"/>
                    </a:lnTo>
                    <a:lnTo>
                      <a:pt x="416" y="217"/>
                    </a:lnTo>
                    <a:lnTo>
                      <a:pt x="417" y="215"/>
                    </a:lnTo>
                    <a:lnTo>
                      <a:pt x="417" y="210"/>
                    </a:lnTo>
                    <a:lnTo>
                      <a:pt x="414" y="208"/>
                    </a:lnTo>
                    <a:lnTo>
                      <a:pt x="410" y="202"/>
                    </a:lnTo>
                    <a:lnTo>
                      <a:pt x="409" y="201"/>
                    </a:lnTo>
                    <a:lnTo>
                      <a:pt x="409" y="199"/>
                    </a:lnTo>
                    <a:lnTo>
                      <a:pt x="412" y="196"/>
                    </a:lnTo>
                    <a:lnTo>
                      <a:pt x="414" y="193"/>
                    </a:lnTo>
                    <a:lnTo>
                      <a:pt x="414" y="190"/>
                    </a:lnTo>
                    <a:lnTo>
                      <a:pt x="414" y="189"/>
                    </a:lnTo>
                    <a:lnTo>
                      <a:pt x="417" y="189"/>
                    </a:lnTo>
                    <a:lnTo>
                      <a:pt x="421" y="191"/>
                    </a:lnTo>
                    <a:lnTo>
                      <a:pt x="422" y="191"/>
                    </a:lnTo>
                    <a:lnTo>
                      <a:pt x="424" y="191"/>
                    </a:lnTo>
                    <a:lnTo>
                      <a:pt x="427" y="191"/>
                    </a:lnTo>
                    <a:lnTo>
                      <a:pt x="428" y="184"/>
                    </a:lnTo>
                    <a:lnTo>
                      <a:pt x="430" y="179"/>
                    </a:lnTo>
                    <a:lnTo>
                      <a:pt x="432" y="178"/>
                    </a:lnTo>
                    <a:lnTo>
                      <a:pt x="430" y="174"/>
                    </a:lnTo>
                    <a:lnTo>
                      <a:pt x="430" y="172"/>
                    </a:lnTo>
                    <a:lnTo>
                      <a:pt x="432" y="169"/>
                    </a:lnTo>
                    <a:lnTo>
                      <a:pt x="433" y="168"/>
                    </a:lnTo>
                    <a:lnTo>
                      <a:pt x="433" y="163"/>
                    </a:lnTo>
                    <a:lnTo>
                      <a:pt x="433" y="162"/>
                    </a:lnTo>
                    <a:lnTo>
                      <a:pt x="439" y="162"/>
                    </a:lnTo>
                    <a:lnTo>
                      <a:pt x="439" y="159"/>
                    </a:lnTo>
                    <a:lnTo>
                      <a:pt x="436" y="148"/>
                    </a:lnTo>
                    <a:lnTo>
                      <a:pt x="435" y="145"/>
                    </a:lnTo>
                    <a:lnTo>
                      <a:pt x="433" y="145"/>
                    </a:lnTo>
                    <a:lnTo>
                      <a:pt x="427" y="147"/>
                    </a:lnTo>
                    <a:lnTo>
                      <a:pt x="422" y="147"/>
                    </a:lnTo>
                    <a:lnTo>
                      <a:pt x="420" y="141"/>
                    </a:lnTo>
                    <a:lnTo>
                      <a:pt x="428" y="138"/>
                    </a:lnTo>
                    <a:lnTo>
                      <a:pt x="429" y="132"/>
                    </a:lnTo>
                    <a:lnTo>
                      <a:pt x="435" y="131"/>
                    </a:lnTo>
                    <a:lnTo>
                      <a:pt x="439" y="131"/>
                    </a:lnTo>
                    <a:lnTo>
                      <a:pt x="439" y="130"/>
                    </a:lnTo>
                    <a:lnTo>
                      <a:pt x="439" y="127"/>
                    </a:lnTo>
                    <a:lnTo>
                      <a:pt x="445" y="107"/>
                    </a:lnTo>
                    <a:lnTo>
                      <a:pt x="445" y="99"/>
                    </a:lnTo>
                    <a:lnTo>
                      <a:pt x="444" y="91"/>
                    </a:lnTo>
                    <a:lnTo>
                      <a:pt x="444" y="90"/>
                    </a:lnTo>
                    <a:lnTo>
                      <a:pt x="448" y="78"/>
                    </a:lnTo>
                    <a:lnTo>
                      <a:pt x="450" y="76"/>
                    </a:lnTo>
                    <a:lnTo>
                      <a:pt x="452" y="73"/>
                    </a:lnTo>
                    <a:lnTo>
                      <a:pt x="454" y="72"/>
                    </a:lnTo>
                    <a:lnTo>
                      <a:pt x="457" y="69"/>
                    </a:lnTo>
                    <a:lnTo>
                      <a:pt x="468" y="65"/>
                    </a:lnTo>
                    <a:lnTo>
                      <a:pt x="471" y="66"/>
                    </a:lnTo>
                    <a:lnTo>
                      <a:pt x="472" y="67"/>
                    </a:lnTo>
                    <a:lnTo>
                      <a:pt x="471" y="70"/>
                    </a:lnTo>
                    <a:lnTo>
                      <a:pt x="475" y="75"/>
                    </a:lnTo>
                    <a:lnTo>
                      <a:pt x="477" y="73"/>
                    </a:lnTo>
                    <a:lnTo>
                      <a:pt x="483" y="73"/>
                    </a:lnTo>
                    <a:lnTo>
                      <a:pt x="484" y="73"/>
                    </a:lnTo>
                    <a:lnTo>
                      <a:pt x="488" y="63"/>
                    </a:lnTo>
                    <a:lnTo>
                      <a:pt x="488" y="61"/>
                    </a:lnTo>
                    <a:lnTo>
                      <a:pt x="482" y="58"/>
                    </a:lnTo>
                    <a:lnTo>
                      <a:pt x="478" y="57"/>
                    </a:lnTo>
                    <a:lnTo>
                      <a:pt x="477" y="55"/>
                    </a:lnTo>
                    <a:lnTo>
                      <a:pt x="476" y="55"/>
                    </a:lnTo>
                    <a:lnTo>
                      <a:pt x="472" y="53"/>
                    </a:lnTo>
                    <a:lnTo>
                      <a:pt x="469" y="52"/>
                    </a:lnTo>
                    <a:lnTo>
                      <a:pt x="469" y="51"/>
                    </a:lnTo>
                    <a:lnTo>
                      <a:pt x="468" y="49"/>
                    </a:lnTo>
                    <a:lnTo>
                      <a:pt x="468" y="47"/>
                    </a:lnTo>
                    <a:lnTo>
                      <a:pt x="466" y="45"/>
                    </a:lnTo>
                    <a:lnTo>
                      <a:pt x="466" y="41"/>
                    </a:lnTo>
                    <a:lnTo>
                      <a:pt x="468" y="39"/>
                    </a:lnTo>
                    <a:lnTo>
                      <a:pt x="465" y="28"/>
                    </a:lnTo>
                    <a:lnTo>
                      <a:pt x="464" y="22"/>
                    </a:lnTo>
                    <a:lnTo>
                      <a:pt x="463" y="18"/>
                    </a:lnTo>
                    <a:lnTo>
                      <a:pt x="457" y="10"/>
                    </a:lnTo>
                    <a:lnTo>
                      <a:pt x="454" y="7"/>
                    </a:lnTo>
                    <a:lnTo>
                      <a:pt x="452" y="4"/>
                    </a:lnTo>
                    <a:lnTo>
                      <a:pt x="450" y="3"/>
                    </a:lnTo>
                    <a:lnTo>
                      <a:pt x="447" y="1"/>
                    </a:lnTo>
                    <a:lnTo>
                      <a:pt x="446" y="1"/>
                    </a:lnTo>
                    <a:lnTo>
                      <a:pt x="444" y="0"/>
                    </a:lnTo>
                    <a:lnTo>
                      <a:pt x="439" y="1"/>
                    </a:lnTo>
                    <a:lnTo>
                      <a:pt x="438" y="1"/>
                    </a:lnTo>
                    <a:lnTo>
                      <a:pt x="433" y="3"/>
                    </a:lnTo>
                    <a:lnTo>
                      <a:pt x="429" y="4"/>
                    </a:lnTo>
                    <a:lnTo>
                      <a:pt x="426" y="4"/>
                    </a:lnTo>
                    <a:lnTo>
                      <a:pt x="423" y="5"/>
                    </a:lnTo>
                    <a:lnTo>
                      <a:pt x="421" y="5"/>
                    </a:lnTo>
                    <a:lnTo>
                      <a:pt x="417" y="6"/>
                    </a:lnTo>
                    <a:lnTo>
                      <a:pt x="414" y="9"/>
                    </a:lnTo>
                    <a:lnTo>
                      <a:pt x="408" y="10"/>
                    </a:lnTo>
                    <a:lnTo>
                      <a:pt x="405" y="11"/>
                    </a:lnTo>
                    <a:lnTo>
                      <a:pt x="403" y="11"/>
                    </a:lnTo>
                    <a:lnTo>
                      <a:pt x="400" y="11"/>
                    </a:lnTo>
                    <a:lnTo>
                      <a:pt x="398" y="11"/>
                    </a:lnTo>
                    <a:lnTo>
                      <a:pt x="396" y="10"/>
                    </a:lnTo>
                    <a:lnTo>
                      <a:pt x="394" y="10"/>
                    </a:lnTo>
                    <a:lnTo>
                      <a:pt x="392" y="9"/>
                    </a:lnTo>
                    <a:lnTo>
                      <a:pt x="390" y="7"/>
                    </a:lnTo>
                    <a:lnTo>
                      <a:pt x="386" y="4"/>
                    </a:lnTo>
                    <a:lnTo>
                      <a:pt x="384" y="4"/>
                    </a:lnTo>
                    <a:lnTo>
                      <a:pt x="382" y="3"/>
                    </a:lnTo>
                    <a:lnTo>
                      <a:pt x="380" y="3"/>
                    </a:lnTo>
                    <a:lnTo>
                      <a:pt x="378" y="4"/>
                    </a:lnTo>
                    <a:lnTo>
                      <a:pt x="376" y="6"/>
                    </a:lnTo>
                    <a:lnTo>
                      <a:pt x="376" y="7"/>
                    </a:lnTo>
                    <a:lnTo>
                      <a:pt x="376" y="10"/>
                    </a:lnTo>
                    <a:lnTo>
                      <a:pt x="379" y="16"/>
                    </a:lnTo>
                    <a:lnTo>
                      <a:pt x="379" y="18"/>
                    </a:lnTo>
                    <a:lnTo>
                      <a:pt x="379" y="19"/>
                    </a:lnTo>
                    <a:lnTo>
                      <a:pt x="379" y="23"/>
                    </a:lnTo>
                    <a:lnTo>
                      <a:pt x="378" y="24"/>
                    </a:lnTo>
                    <a:lnTo>
                      <a:pt x="378" y="27"/>
                    </a:lnTo>
                    <a:lnTo>
                      <a:pt x="375" y="30"/>
                    </a:lnTo>
                    <a:lnTo>
                      <a:pt x="373" y="33"/>
                    </a:lnTo>
                    <a:lnTo>
                      <a:pt x="370" y="35"/>
                    </a:lnTo>
                    <a:lnTo>
                      <a:pt x="368" y="37"/>
                    </a:lnTo>
                    <a:lnTo>
                      <a:pt x="366" y="39"/>
                    </a:lnTo>
                    <a:lnTo>
                      <a:pt x="363" y="41"/>
                    </a:lnTo>
                    <a:lnTo>
                      <a:pt x="361" y="42"/>
                    </a:lnTo>
                    <a:lnTo>
                      <a:pt x="358" y="42"/>
                    </a:lnTo>
                    <a:lnTo>
                      <a:pt x="356" y="42"/>
                    </a:lnTo>
                    <a:lnTo>
                      <a:pt x="354" y="42"/>
                    </a:lnTo>
                    <a:lnTo>
                      <a:pt x="352" y="42"/>
                    </a:lnTo>
                    <a:lnTo>
                      <a:pt x="350" y="41"/>
                    </a:lnTo>
                    <a:lnTo>
                      <a:pt x="348" y="40"/>
                    </a:lnTo>
                    <a:lnTo>
                      <a:pt x="345" y="39"/>
                    </a:lnTo>
                    <a:lnTo>
                      <a:pt x="342" y="36"/>
                    </a:lnTo>
                    <a:lnTo>
                      <a:pt x="339" y="35"/>
                    </a:lnTo>
                    <a:lnTo>
                      <a:pt x="334" y="31"/>
                    </a:lnTo>
                    <a:lnTo>
                      <a:pt x="332" y="30"/>
                    </a:lnTo>
                    <a:lnTo>
                      <a:pt x="330" y="29"/>
                    </a:lnTo>
                    <a:lnTo>
                      <a:pt x="326" y="28"/>
                    </a:lnTo>
                    <a:lnTo>
                      <a:pt x="324" y="28"/>
                    </a:lnTo>
                    <a:lnTo>
                      <a:pt x="320" y="27"/>
                    </a:lnTo>
                    <a:lnTo>
                      <a:pt x="318" y="28"/>
                    </a:lnTo>
                    <a:lnTo>
                      <a:pt x="314" y="29"/>
                    </a:lnTo>
                    <a:lnTo>
                      <a:pt x="313" y="29"/>
                    </a:lnTo>
                    <a:lnTo>
                      <a:pt x="312" y="30"/>
                    </a:lnTo>
                    <a:lnTo>
                      <a:pt x="310" y="33"/>
                    </a:lnTo>
                    <a:lnTo>
                      <a:pt x="312" y="34"/>
                    </a:lnTo>
                    <a:lnTo>
                      <a:pt x="314" y="40"/>
                    </a:lnTo>
                    <a:lnTo>
                      <a:pt x="315" y="42"/>
                    </a:lnTo>
                    <a:lnTo>
                      <a:pt x="315" y="45"/>
                    </a:lnTo>
                    <a:lnTo>
                      <a:pt x="315" y="47"/>
                    </a:lnTo>
                    <a:lnTo>
                      <a:pt x="314" y="48"/>
                    </a:lnTo>
                    <a:lnTo>
                      <a:pt x="310" y="58"/>
                    </a:lnTo>
                    <a:lnTo>
                      <a:pt x="307" y="66"/>
                    </a:lnTo>
                    <a:lnTo>
                      <a:pt x="307" y="70"/>
                    </a:lnTo>
                    <a:lnTo>
                      <a:pt x="304" y="73"/>
                    </a:lnTo>
                    <a:lnTo>
                      <a:pt x="302" y="77"/>
                    </a:lnTo>
                    <a:lnTo>
                      <a:pt x="300" y="82"/>
                    </a:lnTo>
                    <a:lnTo>
                      <a:pt x="298" y="83"/>
                    </a:lnTo>
                    <a:lnTo>
                      <a:pt x="296" y="90"/>
                    </a:lnTo>
                    <a:lnTo>
                      <a:pt x="296" y="91"/>
                    </a:lnTo>
                    <a:lnTo>
                      <a:pt x="294" y="94"/>
                    </a:lnTo>
                    <a:lnTo>
                      <a:pt x="291" y="95"/>
                    </a:lnTo>
                    <a:lnTo>
                      <a:pt x="264" y="111"/>
                    </a:lnTo>
                    <a:lnTo>
                      <a:pt x="262" y="114"/>
                    </a:lnTo>
                    <a:lnTo>
                      <a:pt x="247" y="105"/>
                    </a:lnTo>
                    <a:lnTo>
                      <a:pt x="230" y="132"/>
                    </a:lnTo>
                    <a:lnTo>
                      <a:pt x="188" y="187"/>
                    </a:lnTo>
                    <a:lnTo>
                      <a:pt x="151" y="190"/>
                    </a:lnTo>
                    <a:lnTo>
                      <a:pt x="129" y="195"/>
                    </a:lnTo>
                    <a:lnTo>
                      <a:pt x="114" y="199"/>
                    </a:lnTo>
                    <a:lnTo>
                      <a:pt x="100" y="201"/>
                    </a:lnTo>
                    <a:lnTo>
                      <a:pt x="88" y="209"/>
                    </a:lnTo>
                    <a:lnTo>
                      <a:pt x="81" y="207"/>
                    </a:lnTo>
                    <a:lnTo>
                      <a:pt x="72" y="209"/>
                    </a:lnTo>
                    <a:lnTo>
                      <a:pt x="57" y="217"/>
                    </a:lnTo>
                    <a:lnTo>
                      <a:pt x="58" y="231"/>
                    </a:lnTo>
                    <a:lnTo>
                      <a:pt x="63" y="235"/>
                    </a:lnTo>
                    <a:lnTo>
                      <a:pt x="63" y="240"/>
                    </a:lnTo>
                    <a:lnTo>
                      <a:pt x="61" y="245"/>
                    </a:lnTo>
                    <a:lnTo>
                      <a:pt x="76" y="262"/>
                    </a:lnTo>
                    <a:lnTo>
                      <a:pt x="74" y="263"/>
                    </a:lnTo>
                    <a:lnTo>
                      <a:pt x="51" y="264"/>
                    </a:lnTo>
                    <a:lnTo>
                      <a:pt x="31" y="264"/>
                    </a:lnTo>
                    <a:lnTo>
                      <a:pt x="26" y="274"/>
                    </a:lnTo>
                    <a:lnTo>
                      <a:pt x="14" y="276"/>
                    </a:lnTo>
                    <a:lnTo>
                      <a:pt x="0" y="283"/>
                    </a:lnTo>
                    <a:lnTo>
                      <a:pt x="0" y="299"/>
                    </a:lnTo>
                    <a:lnTo>
                      <a:pt x="13" y="317"/>
                    </a:lnTo>
                    <a:lnTo>
                      <a:pt x="31" y="335"/>
                    </a:lnTo>
                    <a:lnTo>
                      <a:pt x="16" y="336"/>
                    </a:lnTo>
                    <a:lnTo>
                      <a:pt x="8" y="345"/>
                    </a:lnTo>
                    <a:lnTo>
                      <a:pt x="12" y="348"/>
                    </a:lnTo>
                    <a:lnTo>
                      <a:pt x="14" y="349"/>
                    </a:lnTo>
                    <a:lnTo>
                      <a:pt x="21" y="354"/>
                    </a:lnTo>
                    <a:lnTo>
                      <a:pt x="22" y="358"/>
                    </a:lnTo>
                    <a:lnTo>
                      <a:pt x="22" y="359"/>
                    </a:lnTo>
                    <a:lnTo>
                      <a:pt x="39" y="359"/>
                    </a:lnTo>
                    <a:lnTo>
                      <a:pt x="40" y="359"/>
                    </a:lnTo>
                    <a:lnTo>
                      <a:pt x="46" y="358"/>
                    </a:lnTo>
                    <a:lnTo>
                      <a:pt x="48" y="358"/>
                    </a:lnTo>
                    <a:lnTo>
                      <a:pt x="55" y="359"/>
                    </a:lnTo>
                    <a:lnTo>
                      <a:pt x="56" y="358"/>
                    </a:lnTo>
                    <a:lnTo>
                      <a:pt x="57" y="354"/>
                    </a:lnTo>
                    <a:lnTo>
                      <a:pt x="57" y="357"/>
                    </a:lnTo>
                    <a:lnTo>
                      <a:pt x="61" y="364"/>
                    </a:lnTo>
                    <a:lnTo>
                      <a:pt x="63" y="364"/>
                    </a:lnTo>
                    <a:lnTo>
                      <a:pt x="67" y="364"/>
                    </a:lnTo>
                    <a:lnTo>
                      <a:pt x="69" y="364"/>
                    </a:lnTo>
                    <a:lnTo>
                      <a:pt x="84" y="363"/>
                    </a:lnTo>
                    <a:lnTo>
                      <a:pt x="90" y="363"/>
                    </a:lnTo>
                    <a:lnTo>
                      <a:pt x="96" y="363"/>
                    </a:lnTo>
                    <a:lnTo>
                      <a:pt x="103" y="352"/>
                    </a:lnTo>
                    <a:lnTo>
                      <a:pt x="109" y="349"/>
                    </a:lnTo>
                    <a:lnTo>
                      <a:pt x="112" y="348"/>
                    </a:lnTo>
                    <a:lnTo>
                      <a:pt x="117" y="339"/>
                    </a:lnTo>
                    <a:lnTo>
                      <a:pt x="146" y="313"/>
                    </a:lnTo>
                    <a:lnTo>
                      <a:pt x="142" y="328"/>
                    </a:lnTo>
                    <a:lnTo>
                      <a:pt x="141" y="335"/>
                    </a:lnTo>
                    <a:lnTo>
                      <a:pt x="139" y="352"/>
                    </a:lnTo>
                    <a:lnTo>
                      <a:pt x="138" y="354"/>
                    </a:lnTo>
                    <a:lnTo>
                      <a:pt x="138" y="357"/>
                    </a:lnTo>
                    <a:lnTo>
                      <a:pt x="139" y="365"/>
                    </a:lnTo>
                    <a:lnTo>
                      <a:pt x="140" y="370"/>
                    </a:lnTo>
                    <a:lnTo>
                      <a:pt x="140" y="372"/>
                    </a:lnTo>
                    <a:lnTo>
                      <a:pt x="141" y="375"/>
                    </a:lnTo>
                    <a:lnTo>
                      <a:pt x="145" y="388"/>
                    </a:lnTo>
                    <a:lnTo>
                      <a:pt x="146" y="393"/>
                    </a:lnTo>
                    <a:lnTo>
                      <a:pt x="147" y="395"/>
                    </a:lnTo>
                    <a:lnTo>
                      <a:pt x="148" y="396"/>
                    </a:lnTo>
                    <a:lnTo>
                      <a:pt x="150" y="399"/>
                    </a:lnTo>
                    <a:lnTo>
                      <a:pt x="151" y="399"/>
                    </a:lnTo>
                    <a:lnTo>
                      <a:pt x="154" y="401"/>
                    </a:lnTo>
                    <a:lnTo>
                      <a:pt x="154" y="402"/>
                    </a:lnTo>
                    <a:lnTo>
                      <a:pt x="154" y="403"/>
                    </a:lnTo>
                    <a:lnTo>
                      <a:pt x="154" y="406"/>
                    </a:lnTo>
                    <a:lnTo>
                      <a:pt x="153" y="408"/>
                    </a:lnTo>
                    <a:lnTo>
                      <a:pt x="153" y="409"/>
                    </a:lnTo>
                    <a:lnTo>
                      <a:pt x="154" y="414"/>
                    </a:lnTo>
                    <a:lnTo>
                      <a:pt x="158" y="411"/>
                    </a:lnTo>
                    <a:lnTo>
                      <a:pt x="160" y="411"/>
                    </a:lnTo>
                    <a:lnTo>
                      <a:pt x="162" y="409"/>
                    </a:lnTo>
                    <a:lnTo>
                      <a:pt x="160" y="406"/>
                    </a:lnTo>
                    <a:lnTo>
                      <a:pt x="169" y="406"/>
                    </a:lnTo>
                    <a:lnTo>
                      <a:pt x="163" y="401"/>
                    </a:lnTo>
                    <a:lnTo>
                      <a:pt x="163" y="396"/>
                    </a:lnTo>
                    <a:lnTo>
                      <a:pt x="168" y="397"/>
                    </a:lnTo>
                    <a:lnTo>
                      <a:pt x="170" y="396"/>
                    </a:lnTo>
                    <a:lnTo>
                      <a:pt x="171" y="394"/>
                    </a:lnTo>
                    <a:lnTo>
                      <a:pt x="164" y="393"/>
                    </a:lnTo>
                    <a:lnTo>
                      <a:pt x="165" y="388"/>
                    </a:lnTo>
                    <a:lnTo>
                      <a:pt x="170" y="382"/>
                    </a:lnTo>
                    <a:lnTo>
                      <a:pt x="171" y="382"/>
                    </a:lnTo>
                    <a:lnTo>
                      <a:pt x="174" y="384"/>
                    </a:lnTo>
                    <a:lnTo>
                      <a:pt x="176" y="387"/>
                    </a:lnTo>
                    <a:lnTo>
                      <a:pt x="178" y="388"/>
                    </a:lnTo>
                    <a:lnTo>
                      <a:pt x="180" y="391"/>
                    </a:lnTo>
                    <a:lnTo>
                      <a:pt x="180" y="399"/>
                    </a:lnTo>
                    <a:lnTo>
                      <a:pt x="189" y="401"/>
                    </a:lnTo>
                    <a:lnTo>
                      <a:pt x="187" y="393"/>
                    </a:lnTo>
                    <a:lnTo>
                      <a:pt x="187" y="389"/>
                    </a:lnTo>
                    <a:lnTo>
                      <a:pt x="186" y="382"/>
                    </a:lnTo>
                    <a:lnTo>
                      <a:pt x="184" y="373"/>
                    </a:lnTo>
                    <a:lnTo>
                      <a:pt x="183" y="371"/>
                    </a:lnTo>
                    <a:lnTo>
                      <a:pt x="183" y="364"/>
                    </a:lnTo>
                    <a:lnTo>
                      <a:pt x="184" y="359"/>
                    </a:lnTo>
                    <a:lnTo>
                      <a:pt x="188" y="355"/>
                    </a:lnTo>
                    <a:lnTo>
                      <a:pt x="195" y="357"/>
                    </a:lnTo>
                    <a:lnTo>
                      <a:pt x="194" y="361"/>
                    </a:lnTo>
                    <a:close/>
                  </a:path>
                </a:pathLst>
              </a:custGeom>
              <a:solidFill>
                <a:srgbClr val="EAEAEA"/>
              </a:solidFill>
              <a:ln w="9525" cmpd="sng">
                <a:solidFill>
                  <a:srgbClr val="777777"/>
                </a:solidFill>
                <a:prstDash val="solid"/>
                <a:round/>
                <a:headEnd/>
                <a:tailEnd/>
              </a:ln>
              <a:effectLst>
                <a:outerShdw dist="107763" dir="2700000" algn="ctr" rotWithShape="0">
                  <a:srgbClr val="808080">
                    <a:alpha val="50000"/>
                  </a:srgbClr>
                </a:outerShdw>
              </a:effectLst>
            </p:spPr>
            <p:txBody>
              <a:bodyPr/>
              <a:lstStyle/>
              <a:p>
                <a:pPr latinLnBrk="0">
                  <a:defRPr/>
                </a:pPr>
                <a:endParaRPr kumimoji="0" lang="ko-KR" altLang="en-US" dirty="0">
                  <a:ea typeface="+mn-ea"/>
                </a:endParaRPr>
              </a:p>
            </p:txBody>
          </p:sp>
          <p:sp>
            <p:nvSpPr>
              <p:cNvPr id="44" name="Freeform 44"/>
              <p:cNvSpPr>
                <a:spLocks/>
              </p:cNvSpPr>
              <p:nvPr/>
            </p:nvSpPr>
            <p:spPr bwMode="auto">
              <a:xfrm>
                <a:off x="4669147" y="4393789"/>
                <a:ext cx="306517" cy="309551"/>
              </a:xfrm>
              <a:custGeom>
                <a:avLst/>
                <a:gdLst/>
                <a:ahLst/>
                <a:cxnLst>
                  <a:cxn ang="0">
                    <a:pos x="116" y="6"/>
                  </a:cxn>
                  <a:cxn ang="0">
                    <a:pos x="150" y="0"/>
                  </a:cxn>
                  <a:cxn ang="0">
                    <a:pos x="183" y="9"/>
                  </a:cxn>
                  <a:cxn ang="0">
                    <a:pos x="209" y="46"/>
                  </a:cxn>
                  <a:cxn ang="0">
                    <a:pos x="200" y="93"/>
                  </a:cxn>
                  <a:cxn ang="0">
                    <a:pos x="194" y="105"/>
                  </a:cxn>
                  <a:cxn ang="0">
                    <a:pos x="179" y="134"/>
                  </a:cxn>
                  <a:cxn ang="0">
                    <a:pos x="171" y="147"/>
                  </a:cxn>
                  <a:cxn ang="0">
                    <a:pos x="169" y="168"/>
                  </a:cxn>
                  <a:cxn ang="0">
                    <a:pos x="157" y="184"/>
                  </a:cxn>
                  <a:cxn ang="0">
                    <a:pos x="143" y="186"/>
                  </a:cxn>
                  <a:cxn ang="0">
                    <a:pos x="123" y="196"/>
                  </a:cxn>
                  <a:cxn ang="0">
                    <a:pos x="109" y="228"/>
                  </a:cxn>
                  <a:cxn ang="0">
                    <a:pos x="91" y="268"/>
                  </a:cxn>
                  <a:cxn ang="0">
                    <a:pos x="42" y="280"/>
                  </a:cxn>
                  <a:cxn ang="0">
                    <a:pos x="0" y="285"/>
                  </a:cxn>
                  <a:cxn ang="0">
                    <a:pos x="13" y="239"/>
                  </a:cxn>
                  <a:cxn ang="0">
                    <a:pos x="27" y="236"/>
                  </a:cxn>
                  <a:cxn ang="0">
                    <a:pos x="41" y="225"/>
                  </a:cxn>
                  <a:cxn ang="0">
                    <a:pos x="36" y="214"/>
                  </a:cxn>
                  <a:cxn ang="0">
                    <a:pos x="36" y="204"/>
                  </a:cxn>
                  <a:cxn ang="0">
                    <a:pos x="37" y="191"/>
                  </a:cxn>
                  <a:cxn ang="0">
                    <a:pos x="36" y="182"/>
                  </a:cxn>
                  <a:cxn ang="0">
                    <a:pos x="44" y="168"/>
                  </a:cxn>
                  <a:cxn ang="0">
                    <a:pos x="61" y="159"/>
                  </a:cxn>
                  <a:cxn ang="0">
                    <a:pos x="69" y="147"/>
                  </a:cxn>
                  <a:cxn ang="0">
                    <a:pos x="21" y="131"/>
                  </a:cxn>
                  <a:cxn ang="0">
                    <a:pos x="18" y="106"/>
                  </a:cxn>
                  <a:cxn ang="0">
                    <a:pos x="27" y="71"/>
                  </a:cxn>
                  <a:cxn ang="0">
                    <a:pos x="48" y="62"/>
                  </a:cxn>
                  <a:cxn ang="0">
                    <a:pos x="65" y="80"/>
                  </a:cxn>
                  <a:cxn ang="0">
                    <a:pos x="71" y="51"/>
                  </a:cxn>
                  <a:cxn ang="0">
                    <a:pos x="101" y="9"/>
                  </a:cxn>
                  <a:cxn ang="0">
                    <a:pos x="116" y="6"/>
                  </a:cxn>
                </a:cxnLst>
                <a:rect l="0" t="0" r="r" b="b"/>
                <a:pathLst>
                  <a:path w="209" h="285">
                    <a:moveTo>
                      <a:pt x="116" y="6"/>
                    </a:moveTo>
                    <a:lnTo>
                      <a:pt x="150" y="0"/>
                    </a:lnTo>
                    <a:lnTo>
                      <a:pt x="183" y="9"/>
                    </a:lnTo>
                    <a:lnTo>
                      <a:pt x="209" y="46"/>
                    </a:lnTo>
                    <a:lnTo>
                      <a:pt x="200" y="93"/>
                    </a:lnTo>
                    <a:lnTo>
                      <a:pt x="194" y="105"/>
                    </a:lnTo>
                    <a:lnTo>
                      <a:pt x="179" y="134"/>
                    </a:lnTo>
                    <a:lnTo>
                      <a:pt x="171" y="147"/>
                    </a:lnTo>
                    <a:lnTo>
                      <a:pt x="169" y="168"/>
                    </a:lnTo>
                    <a:lnTo>
                      <a:pt x="157" y="184"/>
                    </a:lnTo>
                    <a:lnTo>
                      <a:pt x="143" y="186"/>
                    </a:lnTo>
                    <a:lnTo>
                      <a:pt x="123" y="196"/>
                    </a:lnTo>
                    <a:lnTo>
                      <a:pt x="109" y="228"/>
                    </a:lnTo>
                    <a:lnTo>
                      <a:pt x="91" y="268"/>
                    </a:lnTo>
                    <a:lnTo>
                      <a:pt x="42" y="280"/>
                    </a:lnTo>
                    <a:lnTo>
                      <a:pt x="0" y="285"/>
                    </a:lnTo>
                    <a:lnTo>
                      <a:pt x="13" y="239"/>
                    </a:lnTo>
                    <a:lnTo>
                      <a:pt x="27" y="236"/>
                    </a:lnTo>
                    <a:lnTo>
                      <a:pt x="41" y="225"/>
                    </a:lnTo>
                    <a:lnTo>
                      <a:pt x="36" y="214"/>
                    </a:lnTo>
                    <a:lnTo>
                      <a:pt x="36" y="204"/>
                    </a:lnTo>
                    <a:lnTo>
                      <a:pt x="37" y="191"/>
                    </a:lnTo>
                    <a:lnTo>
                      <a:pt x="36" y="182"/>
                    </a:lnTo>
                    <a:lnTo>
                      <a:pt x="44" y="168"/>
                    </a:lnTo>
                    <a:lnTo>
                      <a:pt x="61" y="159"/>
                    </a:lnTo>
                    <a:lnTo>
                      <a:pt x="69" y="147"/>
                    </a:lnTo>
                    <a:lnTo>
                      <a:pt x="21" y="131"/>
                    </a:lnTo>
                    <a:lnTo>
                      <a:pt x="18" y="106"/>
                    </a:lnTo>
                    <a:lnTo>
                      <a:pt x="27" y="71"/>
                    </a:lnTo>
                    <a:lnTo>
                      <a:pt x="48" y="62"/>
                    </a:lnTo>
                    <a:lnTo>
                      <a:pt x="65" y="80"/>
                    </a:lnTo>
                    <a:lnTo>
                      <a:pt x="71" y="51"/>
                    </a:lnTo>
                    <a:lnTo>
                      <a:pt x="101" y="9"/>
                    </a:lnTo>
                    <a:lnTo>
                      <a:pt x="116" y="6"/>
                    </a:lnTo>
                    <a:close/>
                  </a:path>
                </a:pathLst>
              </a:custGeom>
              <a:solidFill>
                <a:srgbClr val="EAEAEA"/>
              </a:solidFill>
              <a:ln w="9525" cmpd="sng">
                <a:solidFill>
                  <a:srgbClr val="777777"/>
                </a:solidFill>
                <a:prstDash val="solid"/>
                <a:round/>
                <a:headEnd/>
                <a:tailEnd/>
              </a:ln>
              <a:effectLst>
                <a:outerShdw dist="107763" dir="2700000" algn="ctr" rotWithShape="0">
                  <a:srgbClr val="808080">
                    <a:alpha val="50000"/>
                  </a:srgbClr>
                </a:outerShdw>
              </a:effectLst>
            </p:spPr>
            <p:txBody>
              <a:bodyPr/>
              <a:lstStyle/>
              <a:p>
                <a:pPr latinLnBrk="0">
                  <a:defRPr/>
                </a:pPr>
                <a:endParaRPr kumimoji="0" lang="ko-KR" altLang="en-US" dirty="0">
                  <a:ea typeface="+mn-ea"/>
                </a:endParaRPr>
              </a:p>
            </p:txBody>
          </p:sp>
          <p:grpSp>
            <p:nvGrpSpPr>
              <p:cNvPr id="120886" name="그룹 93"/>
              <p:cNvGrpSpPr>
                <a:grpSpLocks/>
              </p:cNvGrpSpPr>
              <p:nvPr/>
            </p:nvGrpSpPr>
            <p:grpSpPr bwMode="auto">
              <a:xfrm>
                <a:off x="2745850" y="2512575"/>
                <a:ext cx="3107155" cy="2902836"/>
                <a:chOff x="2736335" y="2512575"/>
                <a:chExt cx="3107155" cy="2902836"/>
              </a:xfrm>
            </p:grpSpPr>
            <p:sp>
              <p:nvSpPr>
                <p:cNvPr id="120887" name="Freeform 32"/>
                <p:cNvSpPr>
                  <a:spLocks/>
                </p:cNvSpPr>
                <p:nvPr/>
              </p:nvSpPr>
              <p:spPr bwMode="auto">
                <a:xfrm>
                  <a:off x="3513165" y="3162320"/>
                  <a:ext cx="1341438" cy="1168401"/>
                </a:xfrm>
                <a:custGeom>
                  <a:avLst/>
                  <a:gdLst>
                    <a:gd name="T0" fmla="*/ 2147483647 w 917"/>
                    <a:gd name="T1" fmla="*/ 2147483647 h 1068"/>
                    <a:gd name="T2" fmla="*/ 2147483647 w 917"/>
                    <a:gd name="T3" fmla="*/ 2147483647 h 1068"/>
                    <a:gd name="T4" fmla="*/ 2147483647 w 917"/>
                    <a:gd name="T5" fmla="*/ 2147483647 h 1068"/>
                    <a:gd name="T6" fmla="*/ 2147483647 w 917"/>
                    <a:gd name="T7" fmla="*/ 2147483647 h 1068"/>
                    <a:gd name="T8" fmla="*/ 2147483647 w 917"/>
                    <a:gd name="T9" fmla="*/ 2147483647 h 1068"/>
                    <a:gd name="T10" fmla="*/ 2147483647 w 917"/>
                    <a:gd name="T11" fmla="*/ 2147483647 h 1068"/>
                    <a:gd name="T12" fmla="*/ 2147483647 w 917"/>
                    <a:gd name="T13" fmla="*/ 2147483647 h 1068"/>
                    <a:gd name="T14" fmla="*/ 2147483647 w 917"/>
                    <a:gd name="T15" fmla="*/ 2147483647 h 1068"/>
                    <a:gd name="T16" fmla="*/ 2147483647 w 917"/>
                    <a:gd name="T17" fmla="*/ 2147483647 h 1068"/>
                    <a:gd name="T18" fmla="*/ 2147483647 w 917"/>
                    <a:gd name="T19" fmla="*/ 2147483647 h 1068"/>
                    <a:gd name="T20" fmla="*/ 2147483647 w 917"/>
                    <a:gd name="T21" fmla="*/ 2147483647 h 1068"/>
                    <a:gd name="T22" fmla="*/ 2147483647 w 917"/>
                    <a:gd name="T23" fmla="*/ 2147483647 h 1068"/>
                    <a:gd name="T24" fmla="*/ 2147483647 w 917"/>
                    <a:gd name="T25" fmla="*/ 2147483647 h 1068"/>
                    <a:gd name="T26" fmla="*/ 2147483647 w 917"/>
                    <a:gd name="T27" fmla="*/ 2147483647 h 1068"/>
                    <a:gd name="T28" fmla="*/ 2147483647 w 917"/>
                    <a:gd name="T29" fmla="*/ 2147483647 h 1068"/>
                    <a:gd name="T30" fmla="*/ 2147483647 w 917"/>
                    <a:gd name="T31" fmla="*/ 2147483647 h 1068"/>
                    <a:gd name="T32" fmla="*/ 2147483647 w 917"/>
                    <a:gd name="T33" fmla="*/ 2147483647 h 1068"/>
                    <a:gd name="T34" fmla="*/ 2147483647 w 917"/>
                    <a:gd name="T35" fmla="*/ 2147483647 h 1068"/>
                    <a:gd name="T36" fmla="*/ 2147483647 w 917"/>
                    <a:gd name="T37" fmla="*/ 2147483647 h 1068"/>
                    <a:gd name="T38" fmla="*/ 2147483647 w 917"/>
                    <a:gd name="T39" fmla="*/ 2147483647 h 1068"/>
                    <a:gd name="T40" fmla="*/ 2147483647 w 917"/>
                    <a:gd name="T41" fmla="*/ 2147483647 h 1068"/>
                    <a:gd name="T42" fmla="*/ 2147483647 w 917"/>
                    <a:gd name="T43" fmla="*/ 2147483647 h 1068"/>
                    <a:gd name="T44" fmla="*/ 2147483647 w 917"/>
                    <a:gd name="T45" fmla="*/ 2147483647 h 1068"/>
                    <a:gd name="T46" fmla="*/ 2147483647 w 917"/>
                    <a:gd name="T47" fmla="*/ 2147483647 h 1068"/>
                    <a:gd name="T48" fmla="*/ 2147483647 w 917"/>
                    <a:gd name="T49" fmla="*/ 2147483647 h 1068"/>
                    <a:gd name="T50" fmla="*/ 2147483647 w 917"/>
                    <a:gd name="T51" fmla="*/ 2147483647 h 1068"/>
                    <a:gd name="T52" fmla="*/ 2147483647 w 917"/>
                    <a:gd name="T53" fmla="*/ 2147483647 h 1068"/>
                    <a:gd name="T54" fmla="*/ 2147483647 w 917"/>
                    <a:gd name="T55" fmla="*/ 2147483647 h 1068"/>
                    <a:gd name="T56" fmla="*/ 2147483647 w 917"/>
                    <a:gd name="T57" fmla="*/ 2147483647 h 1068"/>
                    <a:gd name="T58" fmla="*/ 2147483647 w 917"/>
                    <a:gd name="T59" fmla="*/ 2147483647 h 1068"/>
                    <a:gd name="T60" fmla="*/ 2147483647 w 917"/>
                    <a:gd name="T61" fmla="*/ 2147483647 h 1068"/>
                    <a:gd name="T62" fmla="*/ 2147483647 w 917"/>
                    <a:gd name="T63" fmla="*/ 2147483647 h 1068"/>
                    <a:gd name="T64" fmla="*/ 2147483647 w 917"/>
                    <a:gd name="T65" fmla="*/ 2147483647 h 1068"/>
                    <a:gd name="T66" fmla="*/ 2147483647 w 917"/>
                    <a:gd name="T67" fmla="*/ 2147483647 h 1068"/>
                    <a:gd name="T68" fmla="*/ 2147483647 w 917"/>
                    <a:gd name="T69" fmla="*/ 2147483647 h 1068"/>
                    <a:gd name="T70" fmla="*/ 2147483647 w 917"/>
                    <a:gd name="T71" fmla="*/ 2147483647 h 1068"/>
                    <a:gd name="T72" fmla="*/ 2147483647 w 917"/>
                    <a:gd name="T73" fmla="*/ 2147483647 h 1068"/>
                    <a:gd name="T74" fmla="*/ 2147483647 w 917"/>
                    <a:gd name="T75" fmla="*/ 2147483647 h 1068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917"/>
                    <a:gd name="T115" fmla="*/ 0 h 1068"/>
                    <a:gd name="T116" fmla="*/ 917 w 917"/>
                    <a:gd name="T117" fmla="*/ 1068 h 1068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917" h="1068">
                      <a:moveTo>
                        <a:pt x="0" y="308"/>
                      </a:moveTo>
                      <a:lnTo>
                        <a:pt x="20" y="367"/>
                      </a:lnTo>
                      <a:lnTo>
                        <a:pt x="66" y="404"/>
                      </a:lnTo>
                      <a:lnTo>
                        <a:pt x="96" y="421"/>
                      </a:lnTo>
                      <a:lnTo>
                        <a:pt x="92" y="450"/>
                      </a:lnTo>
                      <a:lnTo>
                        <a:pt x="71" y="458"/>
                      </a:lnTo>
                      <a:lnTo>
                        <a:pt x="33" y="471"/>
                      </a:lnTo>
                      <a:lnTo>
                        <a:pt x="17" y="509"/>
                      </a:lnTo>
                      <a:lnTo>
                        <a:pt x="20" y="563"/>
                      </a:lnTo>
                      <a:lnTo>
                        <a:pt x="62" y="605"/>
                      </a:lnTo>
                      <a:lnTo>
                        <a:pt x="71" y="633"/>
                      </a:lnTo>
                      <a:lnTo>
                        <a:pt x="62" y="662"/>
                      </a:lnTo>
                      <a:lnTo>
                        <a:pt x="99" y="701"/>
                      </a:lnTo>
                      <a:lnTo>
                        <a:pt x="145" y="684"/>
                      </a:lnTo>
                      <a:lnTo>
                        <a:pt x="167" y="701"/>
                      </a:lnTo>
                      <a:lnTo>
                        <a:pt x="192" y="717"/>
                      </a:lnTo>
                      <a:lnTo>
                        <a:pt x="204" y="746"/>
                      </a:lnTo>
                      <a:lnTo>
                        <a:pt x="179" y="797"/>
                      </a:lnTo>
                      <a:lnTo>
                        <a:pt x="158" y="825"/>
                      </a:lnTo>
                      <a:lnTo>
                        <a:pt x="170" y="879"/>
                      </a:lnTo>
                      <a:lnTo>
                        <a:pt x="216" y="908"/>
                      </a:lnTo>
                      <a:lnTo>
                        <a:pt x="237" y="938"/>
                      </a:lnTo>
                      <a:lnTo>
                        <a:pt x="263" y="1009"/>
                      </a:lnTo>
                      <a:lnTo>
                        <a:pt x="317" y="1043"/>
                      </a:lnTo>
                      <a:lnTo>
                        <a:pt x="392" y="1046"/>
                      </a:lnTo>
                      <a:lnTo>
                        <a:pt x="438" y="1068"/>
                      </a:lnTo>
                      <a:lnTo>
                        <a:pt x="500" y="1021"/>
                      </a:lnTo>
                      <a:lnTo>
                        <a:pt x="500" y="950"/>
                      </a:lnTo>
                      <a:lnTo>
                        <a:pt x="521" y="901"/>
                      </a:lnTo>
                      <a:lnTo>
                        <a:pt x="512" y="871"/>
                      </a:lnTo>
                      <a:lnTo>
                        <a:pt x="475" y="863"/>
                      </a:lnTo>
                      <a:lnTo>
                        <a:pt x="438" y="842"/>
                      </a:lnTo>
                      <a:lnTo>
                        <a:pt x="416" y="817"/>
                      </a:lnTo>
                      <a:lnTo>
                        <a:pt x="416" y="771"/>
                      </a:lnTo>
                      <a:lnTo>
                        <a:pt x="441" y="741"/>
                      </a:lnTo>
                      <a:lnTo>
                        <a:pt x="425" y="687"/>
                      </a:lnTo>
                      <a:lnTo>
                        <a:pt x="425" y="605"/>
                      </a:lnTo>
                      <a:lnTo>
                        <a:pt x="404" y="583"/>
                      </a:lnTo>
                      <a:lnTo>
                        <a:pt x="413" y="542"/>
                      </a:lnTo>
                      <a:lnTo>
                        <a:pt x="467" y="463"/>
                      </a:lnTo>
                      <a:lnTo>
                        <a:pt x="525" y="433"/>
                      </a:lnTo>
                      <a:lnTo>
                        <a:pt x="537" y="375"/>
                      </a:lnTo>
                      <a:lnTo>
                        <a:pt x="567" y="350"/>
                      </a:lnTo>
                      <a:lnTo>
                        <a:pt x="617" y="362"/>
                      </a:lnTo>
                      <a:lnTo>
                        <a:pt x="650" y="350"/>
                      </a:lnTo>
                      <a:lnTo>
                        <a:pt x="671" y="325"/>
                      </a:lnTo>
                      <a:lnTo>
                        <a:pt x="713" y="350"/>
                      </a:lnTo>
                      <a:lnTo>
                        <a:pt x="734" y="362"/>
                      </a:lnTo>
                      <a:lnTo>
                        <a:pt x="795" y="354"/>
                      </a:lnTo>
                      <a:lnTo>
                        <a:pt x="805" y="325"/>
                      </a:lnTo>
                      <a:lnTo>
                        <a:pt x="821" y="258"/>
                      </a:lnTo>
                      <a:lnTo>
                        <a:pt x="917" y="158"/>
                      </a:lnTo>
                      <a:lnTo>
                        <a:pt x="834" y="120"/>
                      </a:lnTo>
                      <a:lnTo>
                        <a:pt x="758" y="96"/>
                      </a:lnTo>
                      <a:lnTo>
                        <a:pt x="721" y="91"/>
                      </a:lnTo>
                      <a:lnTo>
                        <a:pt x="717" y="62"/>
                      </a:lnTo>
                      <a:lnTo>
                        <a:pt x="687" y="42"/>
                      </a:lnTo>
                      <a:lnTo>
                        <a:pt x="647" y="17"/>
                      </a:lnTo>
                      <a:lnTo>
                        <a:pt x="600" y="33"/>
                      </a:lnTo>
                      <a:lnTo>
                        <a:pt x="571" y="55"/>
                      </a:lnTo>
                      <a:lnTo>
                        <a:pt x="529" y="66"/>
                      </a:lnTo>
                      <a:lnTo>
                        <a:pt x="504" y="38"/>
                      </a:lnTo>
                      <a:lnTo>
                        <a:pt x="488" y="0"/>
                      </a:lnTo>
                      <a:lnTo>
                        <a:pt x="458" y="5"/>
                      </a:lnTo>
                      <a:lnTo>
                        <a:pt x="404" y="71"/>
                      </a:lnTo>
                      <a:lnTo>
                        <a:pt x="371" y="96"/>
                      </a:lnTo>
                      <a:lnTo>
                        <a:pt x="342" y="79"/>
                      </a:lnTo>
                      <a:lnTo>
                        <a:pt x="325" y="42"/>
                      </a:lnTo>
                      <a:lnTo>
                        <a:pt x="303" y="62"/>
                      </a:lnTo>
                      <a:lnTo>
                        <a:pt x="296" y="96"/>
                      </a:lnTo>
                      <a:lnTo>
                        <a:pt x="246" y="109"/>
                      </a:lnTo>
                      <a:lnTo>
                        <a:pt x="237" y="162"/>
                      </a:lnTo>
                      <a:lnTo>
                        <a:pt x="195" y="205"/>
                      </a:lnTo>
                      <a:lnTo>
                        <a:pt x="162" y="187"/>
                      </a:lnTo>
                      <a:lnTo>
                        <a:pt x="125" y="170"/>
                      </a:lnTo>
                      <a:lnTo>
                        <a:pt x="75" y="241"/>
                      </a:lnTo>
                      <a:lnTo>
                        <a:pt x="0" y="308"/>
                      </a:lnTo>
                      <a:close/>
                    </a:path>
                  </a:pathLst>
                </a:custGeom>
                <a:solidFill>
                  <a:srgbClr val="EAEAEA"/>
                </a:solidFill>
                <a:ln w="9525" cmpd="sng">
                  <a:solidFill>
                    <a:srgbClr val="777777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ko-KR" altLang="en-US"/>
                </a:p>
              </p:txBody>
            </p:sp>
            <p:sp>
              <p:nvSpPr>
                <p:cNvPr id="120888" name="Oval 52"/>
                <p:cNvSpPr>
                  <a:spLocks noChangeArrowheads="1"/>
                </p:cNvSpPr>
                <p:nvPr/>
              </p:nvSpPr>
              <p:spPr bwMode="auto">
                <a:xfrm>
                  <a:off x="4420252" y="4250279"/>
                  <a:ext cx="795672" cy="605876"/>
                </a:xfrm>
                <a:prstGeom prst="ellipse">
                  <a:avLst/>
                </a:prstGeom>
                <a:solidFill>
                  <a:srgbClr val="FFCC66">
                    <a:alpha val="75685"/>
                  </a:srgbClr>
                </a:solidFill>
                <a:ln w="19050">
                  <a:solidFill>
                    <a:srgbClr val="FF0000"/>
                  </a:solidFill>
                  <a:prstDash val="sysDash"/>
                  <a:round/>
                  <a:headEnd/>
                  <a:tailEnd/>
                </a:ln>
              </p:spPr>
              <p:txBody>
                <a:bodyPr anchor="ctr"/>
                <a:lstStyle/>
                <a:p>
                  <a:pPr latinLnBrk="0"/>
                  <a:endParaRPr kumimoji="0" lang="ko-KR" altLang="en-US"/>
                </a:p>
              </p:txBody>
            </p:sp>
            <p:sp>
              <p:nvSpPr>
                <p:cNvPr id="120889" name="Oval 52"/>
                <p:cNvSpPr>
                  <a:spLocks noChangeArrowheads="1"/>
                </p:cNvSpPr>
                <p:nvPr/>
              </p:nvSpPr>
              <p:spPr bwMode="auto">
                <a:xfrm>
                  <a:off x="3077496" y="5099643"/>
                  <a:ext cx="290117" cy="220913"/>
                </a:xfrm>
                <a:prstGeom prst="ellipse">
                  <a:avLst/>
                </a:prstGeom>
                <a:solidFill>
                  <a:srgbClr val="FFCC66">
                    <a:alpha val="75685"/>
                  </a:srgbClr>
                </a:solidFill>
                <a:ln w="3175">
                  <a:noFill/>
                  <a:round/>
                  <a:headEnd/>
                  <a:tailEnd/>
                </a:ln>
              </p:spPr>
              <p:txBody>
                <a:bodyPr anchor="ctr"/>
                <a:lstStyle/>
                <a:p>
                  <a:pPr latinLnBrk="0"/>
                  <a:endParaRPr kumimoji="0" lang="ko-KR" altLang="en-US"/>
                </a:p>
              </p:txBody>
            </p:sp>
            <p:sp>
              <p:nvSpPr>
                <p:cNvPr id="120890" name="Oval 52"/>
                <p:cNvSpPr>
                  <a:spLocks noChangeArrowheads="1"/>
                </p:cNvSpPr>
                <p:nvPr/>
              </p:nvSpPr>
              <p:spPr bwMode="auto">
                <a:xfrm>
                  <a:off x="4973140" y="4752670"/>
                  <a:ext cx="870350" cy="662741"/>
                </a:xfrm>
                <a:prstGeom prst="ellipse">
                  <a:avLst/>
                </a:prstGeom>
                <a:solidFill>
                  <a:srgbClr val="FFCC66">
                    <a:alpha val="75685"/>
                  </a:srgbClr>
                </a:solidFill>
                <a:ln w="19050">
                  <a:solidFill>
                    <a:srgbClr val="FF0000"/>
                  </a:solidFill>
                  <a:prstDash val="sysDash"/>
                  <a:round/>
                  <a:headEnd/>
                  <a:tailEnd/>
                </a:ln>
              </p:spPr>
              <p:txBody>
                <a:bodyPr anchor="ctr"/>
                <a:lstStyle/>
                <a:p>
                  <a:pPr latinLnBrk="0"/>
                  <a:endParaRPr kumimoji="0" lang="ko-KR" altLang="en-US"/>
                </a:p>
              </p:txBody>
            </p:sp>
            <p:sp>
              <p:nvSpPr>
                <p:cNvPr id="57" name="Oval 52"/>
                <p:cNvSpPr>
                  <a:spLocks noChangeArrowheads="1"/>
                </p:cNvSpPr>
                <p:nvPr/>
              </p:nvSpPr>
              <p:spPr bwMode="auto">
                <a:xfrm>
                  <a:off x="3367422" y="3815657"/>
                  <a:ext cx="596901" cy="453704"/>
                </a:xfrm>
                <a:prstGeom prst="ellipse">
                  <a:avLst/>
                </a:prstGeom>
                <a:solidFill>
                  <a:schemeClr val="tx2">
                    <a:lumMod val="90000"/>
                    <a:alpha val="76000"/>
                  </a:schemeClr>
                </a:solidFill>
                <a:ln w="3175">
                  <a:noFill/>
                  <a:round/>
                  <a:headEnd/>
                  <a:tailEnd/>
                </a:ln>
                <a:effectLst/>
              </p:spPr>
              <p:txBody>
                <a:bodyPr anchor="ctr"/>
                <a:lstStyle/>
                <a:p>
                  <a:pPr latinLnBrk="0">
                    <a:defRPr/>
                  </a:pPr>
                  <a:endParaRPr kumimoji="0" lang="ko-KR" altLang="en-US" dirty="0">
                    <a:ea typeface="+mn-ea"/>
                  </a:endParaRPr>
                </a:p>
              </p:txBody>
            </p:sp>
            <p:sp>
              <p:nvSpPr>
                <p:cNvPr id="95" name="Oval 52"/>
                <p:cNvSpPr>
                  <a:spLocks noChangeArrowheads="1"/>
                </p:cNvSpPr>
                <p:nvPr/>
              </p:nvSpPr>
              <p:spPr bwMode="auto">
                <a:xfrm>
                  <a:off x="2736643" y="2512203"/>
                  <a:ext cx="988920" cy="752634"/>
                </a:xfrm>
                <a:prstGeom prst="ellipse">
                  <a:avLst/>
                </a:prstGeom>
                <a:solidFill>
                  <a:schemeClr val="tx2">
                    <a:lumMod val="90000"/>
                    <a:alpha val="76000"/>
                  </a:schemeClr>
                </a:solidFill>
                <a:ln w="3175">
                  <a:noFill/>
                  <a:round/>
                  <a:headEnd/>
                  <a:tailEnd/>
                </a:ln>
                <a:effectLst/>
              </p:spPr>
              <p:txBody>
                <a:bodyPr anchor="ctr"/>
                <a:lstStyle/>
                <a:p>
                  <a:pPr latinLnBrk="0">
                    <a:defRPr/>
                  </a:pPr>
                  <a:endParaRPr kumimoji="0" lang="ko-KR" altLang="en-US" dirty="0">
                    <a:ea typeface="+mn-ea"/>
                  </a:endParaRPr>
                </a:p>
              </p:txBody>
            </p:sp>
          </p:grpSp>
        </p:grpSp>
        <p:sp>
          <p:nvSpPr>
            <p:cNvPr id="120844" name="Oval 52"/>
            <p:cNvSpPr>
              <a:spLocks noChangeArrowheads="1"/>
            </p:cNvSpPr>
            <p:nvPr/>
          </p:nvSpPr>
          <p:spPr bwMode="auto">
            <a:xfrm>
              <a:off x="3307326" y="4882063"/>
              <a:ext cx="93385" cy="90800"/>
            </a:xfrm>
            <a:prstGeom prst="ellipse">
              <a:avLst/>
            </a:prstGeom>
            <a:solidFill>
              <a:srgbClr val="FF6600"/>
            </a:solidFill>
            <a:ln w="3175">
              <a:noFill/>
              <a:round/>
              <a:headEnd/>
              <a:tailEnd/>
            </a:ln>
          </p:spPr>
          <p:txBody>
            <a:bodyPr anchor="ctr"/>
            <a:lstStyle/>
            <a:p>
              <a:pPr latinLnBrk="0"/>
              <a:endParaRPr kumimoji="0" lang="ko-KR" altLang="en-US"/>
            </a:p>
          </p:txBody>
        </p:sp>
        <p:sp>
          <p:nvSpPr>
            <p:cNvPr id="120845" name="TextBox 65"/>
            <p:cNvSpPr txBox="1">
              <a:spLocks noChangeArrowheads="1"/>
            </p:cNvSpPr>
            <p:nvPr/>
          </p:nvSpPr>
          <p:spPr bwMode="auto">
            <a:xfrm>
              <a:off x="3419872" y="3645024"/>
              <a:ext cx="1643074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latinLnBrk="0">
                <a:buFont typeface="Wingdings" pitchFamily="2" charset="2"/>
                <a:buChar char="§"/>
              </a:pPr>
              <a:r>
                <a:rPr kumimoji="0" lang="en-US" altLang="ko-KR" sz="1200">
                  <a:solidFill>
                    <a:srgbClr val="002060"/>
                  </a:solidFill>
                </a:rPr>
                <a:t>Daegu KOA</a:t>
              </a:r>
            </a:p>
          </p:txBody>
        </p:sp>
        <p:sp>
          <p:nvSpPr>
            <p:cNvPr id="120846" name="Text Box 51"/>
            <p:cNvSpPr txBox="1">
              <a:spLocks noChangeArrowheads="1"/>
            </p:cNvSpPr>
            <p:nvPr/>
          </p:nvSpPr>
          <p:spPr bwMode="auto">
            <a:xfrm>
              <a:off x="1599373" y="2643182"/>
              <a:ext cx="1043801" cy="357190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latinLnBrk="0"/>
              <a:r>
                <a:rPr kumimoji="0" lang="en-US" altLang="ko-KR" sz="1200"/>
                <a:t>Seoul </a:t>
              </a:r>
              <a:r>
                <a:rPr kumimoji="0" lang="en-US" altLang="ko-KR" sz="1600"/>
                <a:t>main</a:t>
              </a:r>
              <a:r>
                <a:rPr kumimoji="0" lang="en-US" altLang="ko-KR" sz="1200"/>
                <a:t> office</a:t>
              </a:r>
            </a:p>
          </p:txBody>
        </p:sp>
        <p:sp>
          <p:nvSpPr>
            <p:cNvPr id="120847" name="Text Box 51"/>
            <p:cNvSpPr txBox="1">
              <a:spLocks noChangeArrowheads="1"/>
            </p:cNvSpPr>
            <p:nvPr/>
          </p:nvSpPr>
          <p:spPr bwMode="auto">
            <a:xfrm>
              <a:off x="3286116" y="4786322"/>
              <a:ext cx="1043801" cy="357190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latinLnBrk="0"/>
              <a:r>
                <a:rPr kumimoji="0" lang="en-US" altLang="ko-KR" sz="1200"/>
                <a:t>Busan</a:t>
              </a:r>
              <a:r>
                <a:rPr kumimoji="0" lang="en-US" altLang="ko-KR" sz="900"/>
                <a:t> </a:t>
              </a:r>
              <a:r>
                <a:rPr kumimoji="0" lang="en-US" altLang="ko-KR" sz="1200"/>
                <a:t>KOA</a:t>
              </a:r>
            </a:p>
          </p:txBody>
        </p:sp>
        <p:sp>
          <p:nvSpPr>
            <p:cNvPr id="120848" name="Freeform 174"/>
            <p:cNvSpPr>
              <a:spLocks/>
            </p:cNvSpPr>
            <p:nvPr/>
          </p:nvSpPr>
          <p:spPr bwMode="auto">
            <a:xfrm flipH="1" flipV="1">
              <a:off x="328877" y="3929066"/>
              <a:ext cx="1714512" cy="428628"/>
            </a:xfrm>
            <a:custGeom>
              <a:avLst/>
              <a:gdLst>
                <a:gd name="T0" fmla="*/ 0 w 1374"/>
                <a:gd name="T1" fmla="*/ 2147483647 h 132"/>
                <a:gd name="T2" fmla="*/ 2147483647 w 1374"/>
                <a:gd name="T3" fmla="*/ 0 h 132"/>
                <a:gd name="T4" fmla="*/ 2147483647 w 1374"/>
                <a:gd name="T5" fmla="*/ 0 h 132"/>
                <a:gd name="T6" fmla="*/ 0 60000 65536"/>
                <a:gd name="T7" fmla="*/ 0 60000 65536"/>
                <a:gd name="T8" fmla="*/ 0 60000 65536"/>
                <a:gd name="T9" fmla="*/ 0 w 1374"/>
                <a:gd name="T10" fmla="*/ 0 h 132"/>
                <a:gd name="T11" fmla="*/ 1374 w 1374"/>
                <a:gd name="T12" fmla="*/ 132 h 13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374" h="132">
                  <a:moveTo>
                    <a:pt x="0" y="132"/>
                  </a:moveTo>
                  <a:lnTo>
                    <a:pt x="87" y="0"/>
                  </a:lnTo>
                  <a:lnTo>
                    <a:pt x="1374" y="0"/>
                  </a:lnTo>
                </a:path>
              </a:pathLst>
            </a:custGeom>
            <a:noFill/>
            <a:ln w="12700" cap="flat" cmpd="sng">
              <a:solidFill>
                <a:schemeClr val="tx1"/>
              </a:solidFill>
              <a:prstDash val="solid"/>
              <a:round/>
              <a:headEnd type="oval" w="sm" len="sm"/>
              <a:tailEnd type="oval" w="sm" len="sm"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120849" name="Freeform 174"/>
            <p:cNvSpPr>
              <a:spLocks/>
            </p:cNvSpPr>
            <p:nvPr/>
          </p:nvSpPr>
          <p:spPr bwMode="auto">
            <a:xfrm flipH="1" flipV="1">
              <a:off x="357158" y="5072074"/>
              <a:ext cx="1357322" cy="357190"/>
            </a:xfrm>
            <a:custGeom>
              <a:avLst/>
              <a:gdLst>
                <a:gd name="T0" fmla="*/ 0 w 1374"/>
                <a:gd name="T1" fmla="*/ 2147483647 h 132"/>
                <a:gd name="T2" fmla="*/ 2147483647 w 1374"/>
                <a:gd name="T3" fmla="*/ 0 h 132"/>
                <a:gd name="T4" fmla="*/ 2147483647 w 1374"/>
                <a:gd name="T5" fmla="*/ 0 h 132"/>
                <a:gd name="T6" fmla="*/ 0 60000 65536"/>
                <a:gd name="T7" fmla="*/ 0 60000 65536"/>
                <a:gd name="T8" fmla="*/ 0 60000 65536"/>
                <a:gd name="T9" fmla="*/ 0 w 1374"/>
                <a:gd name="T10" fmla="*/ 0 h 132"/>
                <a:gd name="T11" fmla="*/ 1374 w 1374"/>
                <a:gd name="T12" fmla="*/ 132 h 13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374" h="132">
                  <a:moveTo>
                    <a:pt x="0" y="132"/>
                  </a:moveTo>
                  <a:lnTo>
                    <a:pt x="87" y="0"/>
                  </a:lnTo>
                  <a:lnTo>
                    <a:pt x="1374" y="0"/>
                  </a:lnTo>
                </a:path>
              </a:pathLst>
            </a:custGeom>
            <a:noFill/>
            <a:ln w="12700" cap="flat" cmpd="sng">
              <a:solidFill>
                <a:schemeClr val="tx1"/>
              </a:solidFill>
              <a:prstDash val="solid"/>
              <a:round/>
              <a:headEnd type="oval" w="sm" len="sm"/>
              <a:tailEnd type="oval" w="sm" len="sm"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120850" name="Freeform 174"/>
            <p:cNvSpPr>
              <a:spLocks/>
            </p:cNvSpPr>
            <p:nvPr/>
          </p:nvSpPr>
          <p:spPr bwMode="auto">
            <a:xfrm>
              <a:off x="3000364" y="4143380"/>
              <a:ext cx="1428760" cy="142876"/>
            </a:xfrm>
            <a:custGeom>
              <a:avLst/>
              <a:gdLst>
                <a:gd name="T0" fmla="*/ 0 w 1374"/>
                <a:gd name="T1" fmla="*/ 2147483647 h 132"/>
                <a:gd name="T2" fmla="*/ 2147483647 w 1374"/>
                <a:gd name="T3" fmla="*/ 0 h 132"/>
                <a:gd name="T4" fmla="*/ 2147483647 w 1374"/>
                <a:gd name="T5" fmla="*/ 0 h 132"/>
                <a:gd name="T6" fmla="*/ 0 60000 65536"/>
                <a:gd name="T7" fmla="*/ 0 60000 65536"/>
                <a:gd name="T8" fmla="*/ 0 60000 65536"/>
                <a:gd name="T9" fmla="*/ 0 w 1374"/>
                <a:gd name="T10" fmla="*/ 0 h 132"/>
                <a:gd name="T11" fmla="*/ 1374 w 1374"/>
                <a:gd name="T12" fmla="*/ 132 h 13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374" h="132">
                  <a:moveTo>
                    <a:pt x="0" y="132"/>
                  </a:moveTo>
                  <a:lnTo>
                    <a:pt x="87" y="0"/>
                  </a:lnTo>
                  <a:lnTo>
                    <a:pt x="1374" y="0"/>
                  </a:lnTo>
                </a:path>
              </a:pathLst>
            </a:custGeom>
            <a:noFill/>
            <a:ln w="12700" cap="flat" cmpd="sng">
              <a:solidFill>
                <a:schemeClr val="tx1"/>
              </a:solidFill>
              <a:prstDash val="solid"/>
              <a:round/>
              <a:headEnd type="oval" w="sm" len="sm"/>
              <a:tailEnd type="oval" w="sm" len="sm"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120851" name="Freeform 174"/>
            <p:cNvSpPr>
              <a:spLocks/>
            </p:cNvSpPr>
            <p:nvPr/>
          </p:nvSpPr>
          <p:spPr bwMode="auto">
            <a:xfrm flipV="1">
              <a:off x="3257835" y="4972355"/>
              <a:ext cx="1285884" cy="1000132"/>
            </a:xfrm>
            <a:custGeom>
              <a:avLst/>
              <a:gdLst>
                <a:gd name="T0" fmla="*/ 0 w 1374"/>
                <a:gd name="T1" fmla="*/ 2147483647 h 132"/>
                <a:gd name="T2" fmla="*/ 2147483647 w 1374"/>
                <a:gd name="T3" fmla="*/ 0 h 132"/>
                <a:gd name="T4" fmla="*/ 2147483647 w 1374"/>
                <a:gd name="T5" fmla="*/ 0 h 132"/>
                <a:gd name="T6" fmla="*/ 0 60000 65536"/>
                <a:gd name="T7" fmla="*/ 0 60000 65536"/>
                <a:gd name="T8" fmla="*/ 0 60000 65536"/>
                <a:gd name="T9" fmla="*/ 0 w 1374"/>
                <a:gd name="T10" fmla="*/ 0 h 132"/>
                <a:gd name="T11" fmla="*/ 1374 w 1374"/>
                <a:gd name="T12" fmla="*/ 132 h 13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374" h="132">
                  <a:moveTo>
                    <a:pt x="0" y="132"/>
                  </a:moveTo>
                  <a:lnTo>
                    <a:pt x="87" y="0"/>
                  </a:lnTo>
                  <a:lnTo>
                    <a:pt x="1374" y="0"/>
                  </a:lnTo>
                </a:path>
              </a:pathLst>
            </a:custGeom>
            <a:noFill/>
            <a:ln w="12700" cap="flat" cmpd="sng">
              <a:solidFill>
                <a:schemeClr val="tx1"/>
              </a:solidFill>
              <a:prstDash val="solid"/>
              <a:round/>
              <a:headEnd type="oval" w="sm" len="sm"/>
              <a:tailEnd type="oval" w="sm" len="sm"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120852" name="TextBox 76"/>
            <p:cNvSpPr txBox="1">
              <a:spLocks noChangeArrowheads="1"/>
            </p:cNvSpPr>
            <p:nvPr/>
          </p:nvSpPr>
          <p:spPr bwMode="auto">
            <a:xfrm>
              <a:off x="285720" y="3857628"/>
              <a:ext cx="1857388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latinLnBrk="0">
                <a:buFont typeface="Wingdings" pitchFamily="2" charset="2"/>
                <a:buChar char="§"/>
              </a:pPr>
              <a:r>
                <a:rPr kumimoji="0" lang="en-US" altLang="ko-KR" sz="1400">
                  <a:solidFill>
                    <a:srgbClr val="002060"/>
                  </a:solidFill>
                </a:rPr>
                <a:t>Daejun KOA</a:t>
              </a:r>
            </a:p>
          </p:txBody>
        </p:sp>
        <p:sp>
          <p:nvSpPr>
            <p:cNvPr id="120853" name="TextBox 77"/>
            <p:cNvSpPr txBox="1">
              <a:spLocks noChangeArrowheads="1"/>
            </p:cNvSpPr>
            <p:nvPr/>
          </p:nvSpPr>
          <p:spPr bwMode="auto">
            <a:xfrm>
              <a:off x="0" y="5733256"/>
              <a:ext cx="1571636" cy="2880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latinLnBrk="0">
                <a:buFont typeface="Wingdings" pitchFamily="2" charset="2"/>
                <a:buChar char="§"/>
              </a:pPr>
              <a:r>
                <a:rPr kumimoji="0" lang="en-US" altLang="ko-KR" sz="1200">
                  <a:solidFill>
                    <a:srgbClr val="002060"/>
                  </a:solidFill>
                </a:rPr>
                <a:t>Kawngju KOA</a:t>
              </a:r>
            </a:p>
          </p:txBody>
        </p:sp>
        <p:sp>
          <p:nvSpPr>
            <p:cNvPr id="120854" name="Oval 52"/>
            <p:cNvSpPr>
              <a:spLocks noChangeArrowheads="1"/>
            </p:cNvSpPr>
            <p:nvPr/>
          </p:nvSpPr>
          <p:spPr bwMode="auto">
            <a:xfrm>
              <a:off x="1645300" y="2838642"/>
              <a:ext cx="93385" cy="90800"/>
            </a:xfrm>
            <a:prstGeom prst="ellipse">
              <a:avLst/>
            </a:pr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 anchor="ctr"/>
            <a:lstStyle/>
            <a:p>
              <a:pPr latinLnBrk="0"/>
              <a:endParaRPr kumimoji="0" lang="ko-KR" altLang="en-US"/>
            </a:p>
          </p:txBody>
        </p:sp>
        <p:sp>
          <p:nvSpPr>
            <p:cNvPr id="120855" name="직사각형 62"/>
            <p:cNvSpPr>
              <a:spLocks noChangeArrowheads="1"/>
            </p:cNvSpPr>
            <p:nvPr/>
          </p:nvSpPr>
          <p:spPr bwMode="auto">
            <a:xfrm>
              <a:off x="251520" y="6237312"/>
              <a:ext cx="1746231" cy="39672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/>
            <a:lstStyle/>
            <a:p>
              <a:pPr latinLnBrk="0"/>
              <a:endParaRPr kumimoji="0" lang="en-US" altLang="ko-KR" sz="1400"/>
            </a:p>
          </p:txBody>
        </p:sp>
        <p:sp>
          <p:nvSpPr>
            <p:cNvPr id="64" name="Oval 52"/>
            <p:cNvSpPr>
              <a:spLocks noChangeArrowheads="1"/>
            </p:cNvSpPr>
            <p:nvPr/>
          </p:nvSpPr>
          <p:spPr bwMode="auto">
            <a:xfrm>
              <a:off x="2627150" y="2276460"/>
              <a:ext cx="360121" cy="360353"/>
            </a:xfrm>
            <a:prstGeom prst="ellipse">
              <a:avLst/>
            </a:prstGeom>
            <a:solidFill>
              <a:schemeClr val="tx2">
                <a:lumMod val="90000"/>
                <a:alpha val="76000"/>
              </a:schemeClr>
            </a:solidFill>
            <a:ln w="3175">
              <a:noFill/>
              <a:round/>
              <a:headEnd/>
              <a:tailEnd/>
            </a:ln>
            <a:effectLst/>
          </p:spPr>
          <p:txBody>
            <a:bodyPr anchor="ctr"/>
            <a:lstStyle/>
            <a:p>
              <a:pPr latinLnBrk="0">
                <a:defRPr/>
              </a:pPr>
              <a:endParaRPr kumimoji="0" lang="ko-KR" altLang="en-US">
                <a:ea typeface="+mn-ea"/>
              </a:endParaRPr>
            </a:p>
          </p:txBody>
        </p:sp>
        <p:sp>
          <p:nvSpPr>
            <p:cNvPr id="120857" name="TextBox 73"/>
            <p:cNvSpPr txBox="1">
              <a:spLocks noChangeArrowheads="1"/>
            </p:cNvSpPr>
            <p:nvPr/>
          </p:nvSpPr>
          <p:spPr bwMode="auto">
            <a:xfrm>
              <a:off x="3059832" y="2132856"/>
              <a:ext cx="1643074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latinLnBrk="0">
                <a:buFont typeface="Wingdings" pitchFamily="2" charset="2"/>
                <a:buChar char="§"/>
              </a:pPr>
              <a:r>
                <a:rPr kumimoji="0" lang="en-US" altLang="ko-KR" sz="1200">
                  <a:solidFill>
                    <a:srgbClr val="002060"/>
                  </a:solidFill>
                </a:rPr>
                <a:t>Oneju KOA</a:t>
              </a:r>
            </a:p>
          </p:txBody>
        </p:sp>
        <p:sp>
          <p:nvSpPr>
            <p:cNvPr id="120858" name="Oval 52"/>
            <p:cNvSpPr>
              <a:spLocks noChangeArrowheads="1"/>
            </p:cNvSpPr>
            <p:nvPr/>
          </p:nvSpPr>
          <p:spPr bwMode="auto">
            <a:xfrm>
              <a:off x="1763688" y="4509120"/>
              <a:ext cx="238974" cy="231112"/>
            </a:xfrm>
            <a:prstGeom prst="ellipse">
              <a:avLst/>
            </a:prstGeom>
            <a:solidFill>
              <a:srgbClr val="FFCC66">
                <a:alpha val="75685"/>
              </a:srgbClr>
            </a:solidFill>
            <a:ln w="3175">
              <a:noFill/>
              <a:round/>
              <a:headEnd/>
              <a:tailEnd/>
            </a:ln>
          </p:spPr>
          <p:txBody>
            <a:bodyPr anchor="ctr"/>
            <a:lstStyle/>
            <a:p>
              <a:pPr latinLnBrk="0"/>
              <a:endParaRPr kumimoji="0" lang="ko-KR" altLang="en-US"/>
            </a:p>
          </p:txBody>
        </p:sp>
        <p:sp>
          <p:nvSpPr>
            <p:cNvPr id="120859" name="TextBox 75"/>
            <p:cNvSpPr txBox="1">
              <a:spLocks noChangeArrowheads="1"/>
            </p:cNvSpPr>
            <p:nvPr/>
          </p:nvSpPr>
          <p:spPr bwMode="auto">
            <a:xfrm>
              <a:off x="251520" y="4725144"/>
              <a:ext cx="1472516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latinLnBrk="0">
                <a:buFont typeface="Wingdings" pitchFamily="2" charset="2"/>
                <a:buChar char="§"/>
              </a:pPr>
              <a:r>
                <a:rPr kumimoji="0" lang="en-US" altLang="ko-KR" sz="1200">
                  <a:solidFill>
                    <a:srgbClr val="002060"/>
                  </a:solidFill>
                </a:rPr>
                <a:t>Jeungju KOA</a:t>
              </a:r>
            </a:p>
          </p:txBody>
        </p:sp>
        <p:sp>
          <p:nvSpPr>
            <p:cNvPr id="120860" name="Oval 52"/>
            <p:cNvSpPr>
              <a:spLocks noChangeArrowheads="1"/>
            </p:cNvSpPr>
            <p:nvPr/>
          </p:nvSpPr>
          <p:spPr bwMode="auto">
            <a:xfrm>
              <a:off x="2555776" y="5157192"/>
              <a:ext cx="238974" cy="231112"/>
            </a:xfrm>
            <a:prstGeom prst="ellipse">
              <a:avLst/>
            </a:prstGeom>
            <a:solidFill>
              <a:srgbClr val="FFCC66">
                <a:alpha val="75685"/>
              </a:srgbClr>
            </a:solidFill>
            <a:ln w="3175">
              <a:noFill/>
              <a:round/>
              <a:headEnd/>
              <a:tailEnd/>
            </a:ln>
          </p:spPr>
          <p:txBody>
            <a:bodyPr anchor="ctr"/>
            <a:lstStyle/>
            <a:p>
              <a:pPr latinLnBrk="0"/>
              <a:endParaRPr kumimoji="0" lang="ko-KR" altLang="en-US"/>
            </a:p>
          </p:txBody>
        </p:sp>
        <p:sp>
          <p:nvSpPr>
            <p:cNvPr id="120861" name="TextBox 84"/>
            <p:cNvSpPr txBox="1">
              <a:spLocks noChangeArrowheads="1"/>
            </p:cNvSpPr>
            <p:nvPr/>
          </p:nvSpPr>
          <p:spPr bwMode="auto">
            <a:xfrm>
              <a:off x="2051720" y="6165304"/>
              <a:ext cx="1857388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latinLnBrk="0">
                <a:buFont typeface="Wingdings" pitchFamily="2" charset="2"/>
                <a:buChar char="§"/>
              </a:pPr>
              <a:r>
                <a:rPr kumimoji="0" lang="en-US" altLang="ko-KR" sz="1400">
                  <a:solidFill>
                    <a:srgbClr val="002060"/>
                  </a:solidFill>
                </a:rPr>
                <a:t>Jinjun KOA</a:t>
              </a:r>
            </a:p>
          </p:txBody>
        </p:sp>
      </p:grpSp>
      <p:sp>
        <p:nvSpPr>
          <p:cNvPr id="120838" name="직사각형 87"/>
          <p:cNvSpPr>
            <a:spLocks noChangeArrowheads="1"/>
          </p:cNvSpPr>
          <p:nvPr/>
        </p:nvSpPr>
        <p:spPr bwMode="auto">
          <a:xfrm>
            <a:off x="0" y="6200775"/>
            <a:ext cx="1746250" cy="396875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/>
          <a:lstStyle/>
          <a:p>
            <a:pPr latinLnBrk="0"/>
            <a:endParaRPr kumimoji="0" lang="en-US" altLang="ko-KR" sz="1400"/>
          </a:p>
        </p:txBody>
      </p:sp>
    </p:spTree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857" name="Rectangle 4"/>
          <p:cNvSpPr>
            <a:spLocks noGrp="1" noChangeArrowheads="1"/>
          </p:cNvSpPr>
          <p:nvPr>
            <p:ph type="title"/>
          </p:nvPr>
        </p:nvSpPr>
        <p:spPr>
          <a:xfrm>
            <a:off x="755650" y="898525"/>
            <a:ext cx="7521575" cy="801688"/>
          </a:xfrm>
        </p:spPr>
        <p:txBody>
          <a:bodyPr/>
          <a:lstStyle/>
          <a:p>
            <a:pPr eaLnBrk="1" hangingPunct="1"/>
            <a:r>
              <a:rPr lang="en-US" altLang="ko-KR" sz="2400" b="1" smtClean="0">
                <a:ea typeface="MS PGothic" pitchFamily="34" charset="-128"/>
              </a:rPr>
              <a:t>3. K.O.A Activity</a:t>
            </a:r>
            <a:endParaRPr lang="ko-KR" altLang="en-US" sz="2400" b="1" smtClean="0">
              <a:ea typeface="MS PGothic" pitchFamily="34" charset="-128"/>
            </a:endParaRPr>
          </a:p>
        </p:txBody>
      </p:sp>
      <p:sp>
        <p:nvSpPr>
          <p:cNvPr id="121858" name="TextBox 3"/>
          <p:cNvSpPr txBox="1">
            <a:spLocks noChangeArrowheads="1"/>
          </p:cNvSpPr>
          <p:nvPr/>
        </p:nvSpPr>
        <p:spPr bwMode="auto">
          <a:xfrm>
            <a:off x="684213" y="1484313"/>
            <a:ext cx="7572375" cy="332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lnSpc>
                <a:spcPct val="150000"/>
              </a:lnSpc>
              <a:buFont typeface="Arial" charset="0"/>
              <a:buNone/>
            </a:pPr>
            <a:r>
              <a:rPr kumimoji="0" lang="en-US" altLang="ko-KR" dirty="0">
                <a:latin typeface="+mn-ea"/>
                <a:ea typeface="+mn-ea"/>
                <a:cs typeface="맑은 고딕"/>
              </a:rPr>
              <a:t>3-1. Counseling </a:t>
            </a:r>
          </a:p>
          <a:p>
            <a:pPr>
              <a:lnSpc>
                <a:spcPct val="150000"/>
              </a:lnSpc>
              <a:buFont typeface="Arial" charset="0"/>
              <a:buNone/>
            </a:pPr>
            <a:r>
              <a:rPr kumimoji="0" lang="en-US" altLang="ko-KR" dirty="0">
                <a:latin typeface="+mn-ea"/>
                <a:ea typeface="+mn-ea"/>
                <a:cs typeface="맑은 고딕"/>
              </a:rPr>
              <a:t>3-2. Stoma Seminar</a:t>
            </a:r>
          </a:p>
          <a:p>
            <a:pPr>
              <a:lnSpc>
                <a:spcPct val="150000"/>
              </a:lnSpc>
              <a:buFont typeface="Arial" charset="0"/>
              <a:buNone/>
            </a:pPr>
            <a:r>
              <a:rPr kumimoji="0" lang="en-US" altLang="ko-KR" dirty="0">
                <a:latin typeface="+mn-ea"/>
                <a:ea typeface="+mn-ea"/>
                <a:cs typeface="맑은 고딕"/>
              </a:rPr>
              <a:t>3-3. Monthly Meeting</a:t>
            </a:r>
          </a:p>
          <a:p>
            <a:pPr>
              <a:lnSpc>
                <a:spcPct val="150000"/>
              </a:lnSpc>
              <a:buFont typeface="Arial" charset="0"/>
              <a:buNone/>
            </a:pPr>
            <a:r>
              <a:rPr kumimoji="0" lang="en-US" altLang="ko-KR" dirty="0">
                <a:latin typeface="+mn-ea"/>
                <a:ea typeface="+mn-ea"/>
                <a:cs typeface="맑은 고딕"/>
              </a:rPr>
              <a:t>3-4. News- Letter</a:t>
            </a:r>
          </a:p>
          <a:p>
            <a:pPr>
              <a:lnSpc>
                <a:spcPct val="150000"/>
              </a:lnSpc>
              <a:buFont typeface="Arial" charset="0"/>
              <a:buNone/>
            </a:pPr>
            <a:r>
              <a:rPr kumimoji="0" lang="en-US" altLang="ko-KR" dirty="0">
                <a:latin typeface="+mn-ea"/>
                <a:ea typeface="+mn-ea"/>
                <a:cs typeface="맑은 고딕"/>
              </a:rPr>
              <a:t>3-5. Picnics</a:t>
            </a:r>
          </a:p>
          <a:p>
            <a:pPr>
              <a:lnSpc>
                <a:spcPct val="150000"/>
              </a:lnSpc>
              <a:buFont typeface="Arial" charset="0"/>
              <a:buNone/>
            </a:pPr>
            <a:r>
              <a:rPr kumimoji="0" lang="en-US" altLang="ko-KR" dirty="0">
                <a:latin typeface="+mn-ea"/>
                <a:ea typeface="+mn-ea"/>
                <a:cs typeface="맑은 고딕"/>
              </a:rPr>
              <a:t>3-6. </a:t>
            </a:r>
            <a:r>
              <a:rPr kumimoji="0" lang="en-US" altLang="ko-KR" dirty="0" err="1">
                <a:latin typeface="+mn-ea"/>
                <a:ea typeface="+mn-ea"/>
                <a:cs typeface="맑은 고딕"/>
              </a:rPr>
              <a:t>Ostomy</a:t>
            </a:r>
            <a:r>
              <a:rPr kumimoji="0" lang="en-US" altLang="ko-KR" dirty="0">
                <a:latin typeface="+mn-ea"/>
                <a:ea typeface="+mn-ea"/>
                <a:cs typeface="맑은 고딕"/>
              </a:rPr>
              <a:t> Products Donation</a:t>
            </a:r>
          </a:p>
          <a:p>
            <a:pPr>
              <a:lnSpc>
                <a:spcPct val="150000"/>
              </a:lnSpc>
              <a:buFont typeface="Arial" charset="0"/>
              <a:buNone/>
            </a:pPr>
            <a:r>
              <a:rPr kumimoji="0" lang="en-US" altLang="ko-KR" dirty="0">
                <a:latin typeface="+mn-ea"/>
                <a:ea typeface="+mn-ea"/>
                <a:cs typeface="맑은 고딕"/>
              </a:rPr>
              <a:t>3-7. Lobby Activity for </a:t>
            </a:r>
            <a:r>
              <a:rPr kumimoji="0" lang="en-US" altLang="ko-KR" dirty="0" err="1">
                <a:latin typeface="+mn-ea"/>
                <a:ea typeface="+mn-ea"/>
                <a:cs typeface="맑은 고딕"/>
              </a:rPr>
              <a:t>Ostomates</a:t>
            </a:r>
            <a:r>
              <a:rPr kumimoji="0" lang="en-US" altLang="ko-KR" dirty="0">
                <a:latin typeface="+mn-ea"/>
                <a:ea typeface="+mn-ea"/>
                <a:cs typeface="맑은 고딕"/>
              </a:rPr>
              <a:t> Right</a:t>
            </a:r>
            <a:r>
              <a:rPr kumimoji="0" lang="en-US" altLang="ko-KR" dirty="0" smtClean="0">
                <a:latin typeface="+mn-ea"/>
                <a:ea typeface="+mn-ea"/>
                <a:cs typeface="맑은 고딕"/>
              </a:rPr>
              <a:t>.</a:t>
            </a:r>
          </a:p>
          <a:p>
            <a:pPr>
              <a:lnSpc>
                <a:spcPct val="150000"/>
              </a:lnSpc>
              <a:buFont typeface="Arial" charset="0"/>
              <a:buNone/>
            </a:pPr>
            <a:r>
              <a:rPr kumimoji="0" lang="en-US" altLang="ko-KR" dirty="0" smtClean="0">
                <a:latin typeface="+mn-ea"/>
                <a:ea typeface="+mn-ea"/>
                <a:cs typeface="맑은 고딕"/>
              </a:rPr>
              <a:t>3-8. Home Visiting Care</a:t>
            </a:r>
            <a:endParaRPr kumimoji="0" lang="en-US" altLang="ko-KR" dirty="0">
              <a:latin typeface="+mn-ea"/>
              <a:ea typeface="+mn-ea"/>
              <a:cs typeface="맑은 고딕"/>
            </a:endParaRPr>
          </a:p>
        </p:txBody>
      </p:sp>
      <p:sp>
        <p:nvSpPr>
          <p:cNvPr id="121859" name="Rectangle 212"/>
          <p:cNvSpPr>
            <a:spLocks noChangeArrowheads="1"/>
          </p:cNvSpPr>
          <p:nvPr/>
        </p:nvSpPr>
        <p:spPr bwMode="auto">
          <a:xfrm>
            <a:off x="8367713" y="6607175"/>
            <a:ext cx="1685925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 latinLnBrk="0">
              <a:lnSpc>
                <a:spcPct val="60000"/>
              </a:lnSpc>
            </a:pPr>
            <a:fld id="{94B7D9F2-6487-47B0-A73F-7245326A5D81}" type="slidenum">
              <a:rPr kumimoji="0" lang="en-US" altLang="ko-KR" sz="800">
                <a:solidFill>
                  <a:schemeClr val="folHlink"/>
                </a:solidFill>
                <a:latin typeface="휴먼태모음T"/>
                <a:ea typeface="휴먼태모음T"/>
                <a:cs typeface="휴먼태모음T"/>
              </a:rPr>
              <a:pPr algn="r" latinLnBrk="0">
                <a:lnSpc>
                  <a:spcPct val="60000"/>
                </a:lnSpc>
              </a:pPr>
              <a:t>11</a:t>
            </a:fld>
            <a:endParaRPr kumimoji="0" lang="en-US" altLang="ko-KR" sz="800">
              <a:solidFill>
                <a:schemeClr val="folHlink"/>
              </a:solidFill>
              <a:latin typeface="휴먼태모음T"/>
              <a:ea typeface="휴먼태모음T"/>
              <a:cs typeface="휴먼태모음T"/>
            </a:endParaRPr>
          </a:p>
        </p:txBody>
      </p:sp>
      <p:sp>
        <p:nvSpPr>
          <p:cNvPr id="121860" name="Line 49"/>
          <p:cNvSpPr>
            <a:spLocks noChangeShapeType="1"/>
          </p:cNvSpPr>
          <p:nvPr/>
        </p:nvSpPr>
        <p:spPr bwMode="auto">
          <a:xfrm>
            <a:off x="968375" y="1649413"/>
            <a:ext cx="3262313" cy="0"/>
          </a:xfrm>
          <a:prstGeom prst="line">
            <a:avLst/>
          </a:prstGeom>
          <a:noFill/>
          <a:ln w="12700">
            <a:noFill/>
            <a:round/>
            <a:headEnd type="none" w="sm" len="sm"/>
            <a:tailEnd type="none" w="sm" len="sm"/>
          </a:ln>
        </p:spPr>
        <p:txBody>
          <a:bodyPr anchor="ctr"/>
          <a:lstStyle/>
          <a:p>
            <a:endParaRPr lang="ko-KR" altLang="en-US"/>
          </a:p>
        </p:txBody>
      </p:sp>
      <p:sp>
        <p:nvSpPr>
          <p:cNvPr id="121861" name="Line 51"/>
          <p:cNvSpPr>
            <a:spLocks noChangeShapeType="1"/>
          </p:cNvSpPr>
          <p:nvPr/>
        </p:nvSpPr>
        <p:spPr bwMode="auto">
          <a:xfrm>
            <a:off x="968375" y="1649413"/>
            <a:ext cx="0" cy="285750"/>
          </a:xfrm>
          <a:prstGeom prst="line">
            <a:avLst/>
          </a:prstGeom>
          <a:noFill/>
          <a:ln w="28575" cap="sq">
            <a:noFill/>
            <a:round/>
            <a:headEnd type="none" w="sm" len="sm"/>
            <a:tailEnd type="none" w="sm" len="sm"/>
          </a:ln>
        </p:spPr>
        <p:txBody>
          <a:bodyPr anchor="ctr"/>
          <a:lstStyle/>
          <a:p>
            <a:endParaRPr lang="ko-KR" altLang="en-US"/>
          </a:p>
        </p:txBody>
      </p:sp>
      <p:sp>
        <p:nvSpPr>
          <p:cNvPr id="121862" name="Line 52"/>
          <p:cNvSpPr>
            <a:spLocks noChangeShapeType="1"/>
          </p:cNvSpPr>
          <p:nvPr/>
        </p:nvSpPr>
        <p:spPr bwMode="auto">
          <a:xfrm>
            <a:off x="4230688" y="1649413"/>
            <a:ext cx="0" cy="285750"/>
          </a:xfrm>
          <a:prstGeom prst="line">
            <a:avLst/>
          </a:prstGeom>
          <a:noFill/>
          <a:ln w="28575" cap="sq">
            <a:noFill/>
            <a:round/>
            <a:headEnd type="none" w="sm" len="sm"/>
            <a:tailEnd type="none" w="sm" len="sm"/>
          </a:ln>
        </p:spPr>
        <p:txBody>
          <a:bodyPr anchor="ctr"/>
          <a:lstStyle/>
          <a:p>
            <a:endParaRPr lang="ko-KR" altLang="en-US"/>
          </a:p>
        </p:txBody>
      </p:sp>
      <p:sp>
        <p:nvSpPr>
          <p:cNvPr id="121863" name="직사각형 61"/>
          <p:cNvSpPr>
            <a:spLocks noChangeArrowheads="1"/>
          </p:cNvSpPr>
          <p:nvPr/>
        </p:nvSpPr>
        <p:spPr bwMode="auto">
          <a:xfrm>
            <a:off x="7308850" y="6345238"/>
            <a:ext cx="1746250" cy="396875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/>
          <a:lstStyle/>
          <a:p>
            <a:pPr latinLnBrk="0"/>
            <a:endParaRPr kumimoji="0" lang="en-US" altLang="ko-KR" sz="1400"/>
          </a:p>
        </p:txBody>
      </p:sp>
      <p:sp>
        <p:nvSpPr>
          <p:cNvPr id="121864" name="직사각형 72"/>
          <p:cNvSpPr>
            <a:spLocks noChangeArrowheads="1"/>
          </p:cNvSpPr>
          <p:nvPr/>
        </p:nvSpPr>
        <p:spPr bwMode="auto">
          <a:xfrm>
            <a:off x="0" y="6200775"/>
            <a:ext cx="1746250" cy="396875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/>
          <a:lstStyle/>
          <a:p>
            <a:pPr latinLnBrk="0"/>
            <a:endParaRPr kumimoji="0" lang="en-US" altLang="ko-KR" sz="1400"/>
          </a:p>
        </p:txBody>
      </p:sp>
    </p:spTree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81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ko-KR" smtClean="0">
                <a:ea typeface="굴림" charset="-127"/>
              </a:rPr>
              <a:t>3-1  Counseling </a:t>
            </a:r>
            <a:br>
              <a:rPr lang="en-US" altLang="ko-KR" smtClean="0">
                <a:ea typeface="굴림" charset="-127"/>
              </a:rPr>
            </a:br>
            <a:endParaRPr lang="ko-KR" altLang="en-US" smtClean="0">
              <a:ea typeface="굴림" charset="-127"/>
            </a:endParaRPr>
          </a:p>
        </p:txBody>
      </p:sp>
      <p:sp>
        <p:nvSpPr>
          <p:cNvPr id="12288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6625" y="1728788"/>
            <a:ext cx="7343775" cy="3816350"/>
          </a:xfrm>
        </p:spPr>
        <p:txBody>
          <a:bodyPr/>
          <a:lstStyle/>
          <a:p>
            <a:pPr eaLnBrk="1" hangingPunct="1">
              <a:lnSpc>
                <a:spcPct val="90000"/>
              </a:lnSpc>
              <a:buFontTx/>
              <a:buNone/>
              <a:tabLst>
                <a:tab pos="898525" algn="l"/>
              </a:tabLst>
            </a:pPr>
            <a:r>
              <a:rPr lang="en-US" altLang="ko-KR" dirty="0" smtClean="0">
                <a:ea typeface="굴림" charset="-127"/>
              </a:rPr>
              <a:t>3-1-1. Counseling with the Specialist</a:t>
            </a:r>
          </a:p>
          <a:p>
            <a:pPr eaLnBrk="1" hangingPunct="1">
              <a:lnSpc>
                <a:spcPct val="90000"/>
              </a:lnSpc>
              <a:buFontTx/>
              <a:buNone/>
              <a:tabLst>
                <a:tab pos="898525" algn="l"/>
              </a:tabLst>
            </a:pPr>
            <a:r>
              <a:rPr lang="en-US" altLang="ko-KR" dirty="0" smtClean="0">
                <a:ea typeface="굴림" charset="-127"/>
              </a:rPr>
              <a:t>           * Every Fri.  14:00 – 16:00</a:t>
            </a:r>
          </a:p>
          <a:p>
            <a:pPr eaLnBrk="1" hangingPunct="1">
              <a:lnSpc>
                <a:spcPct val="90000"/>
              </a:lnSpc>
              <a:buFontTx/>
              <a:buNone/>
              <a:tabLst>
                <a:tab pos="898525" algn="l"/>
              </a:tabLst>
            </a:pPr>
            <a:r>
              <a:rPr lang="en-US" altLang="ko-KR" dirty="0" smtClean="0">
                <a:ea typeface="굴림" charset="-127"/>
              </a:rPr>
              <a:t>           * Former Prof. of the Department of Nursing Science at Seoul  National Uni.</a:t>
            </a:r>
          </a:p>
          <a:p>
            <a:pPr eaLnBrk="1" hangingPunct="1">
              <a:lnSpc>
                <a:spcPct val="90000"/>
              </a:lnSpc>
              <a:buFontTx/>
              <a:buNone/>
              <a:tabLst>
                <a:tab pos="898525" algn="l"/>
              </a:tabLst>
            </a:pPr>
            <a:r>
              <a:rPr lang="en-US" altLang="ko-KR" dirty="0" smtClean="0">
                <a:ea typeface="굴림" charset="-127"/>
              </a:rPr>
              <a:t>             (Mrs. Kim has done it for 32 years since establishing K.O.A)</a:t>
            </a:r>
          </a:p>
          <a:p>
            <a:pPr eaLnBrk="1" hangingPunct="1">
              <a:lnSpc>
                <a:spcPct val="90000"/>
              </a:lnSpc>
              <a:buFontTx/>
              <a:buNone/>
              <a:tabLst>
                <a:tab pos="898525" algn="l"/>
              </a:tabLst>
            </a:pPr>
            <a:r>
              <a:rPr lang="en-US" altLang="ko-KR" dirty="0" smtClean="0">
                <a:ea typeface="굴림" charset="-127"/>
              </a:rPr>
              <a:t>3-1-2. Counseling with the Fellow</a:t>
            </a:r>
          </a:p>
          <a:p>
            <a:pPr eaLnBrk="1" hangingPunct="1">
              <a:lnSpc>
                <a:spcPct val="90000"/>
              </a:lnSpc>
              <a:buFontTx/>
              <a:buNone/>
              <a:tabLst>
                <a:tab pos="898525" algn="l"/>
              </a:tabLst>
            </a:pPr>
            <a:r>
              <a:rPr lang="en-US" altLang="ko-KR" dirty="0" smtClean="0">
                <a:ea typeface="굴림" charset="-127"/>
              </a:rPr>
              <a:t>            * Every Day  10:00 – 17:00(Mon day –Friday)</a:t>
            </a:r>
          </a:p>
          <a:p>
            <a:pPr eaLnBrk="1" hangingPunct="1">
              <a:lnSpc>
                <a:spcPct val="90000"/>
              </a:lnSpc>
              <a:buFontTx/>
              <a:buNone/>
              <a:tabLst>
                <a:tab pos="898525" algn="l"/>
              </a:tabLst>
            </a:pPr>
            <a:r>
              <a:rPr lang="en-US" altLang="ko-KR" dirty="0" smtClean="0">
                <a:ea typeface="굴림" charset="-127"/>
              </a:rPr>
              <a:t>            * President and Members of K.O.A</a:t>
            </a:r>
          </a:p>
          <a:p>
            <a:pPr eaLnBrk="1" hangingPunct="1">
              <a:lnSpc>
                <a:spcPct val="90000"/>
              </a:lnSpc>
              <a:buFontTx/>
              <a:buNone/>
              <a:tabLst>
                <a:tab pos="898525" algn="l"/>
              </a:tabLst>
            </a:pPr>
            <a:r>
              <a:rPr lang="en-US" altLang="ko-KR" dirty="0" smtClean="0">
                <a:ea typeface="굴림" charset="-127"/>
              </a:rPr>
              <a:t>3-1-3. Counseling in Website of K.O.A (http://ostomy.or.kr)</a:t>
            </a:r>
          </a:p>
          <a:p>
            <a:pPr eaLnBrk="1" hangingPunct="1">
              <a:lnSpc>
                <a:spcPct val="90000"/>
              </a:lnSpc>
              <a:buFontTx/>
              <a:buNone/>
              <a:tabLst>
                <a:tab pos="898525" algn="l"/>
              </a:tabLst>
            </a:pPr>
            <a:endParaRPr lang="en-US" altLang="ko-KR" dirty="0" smtClean="0">
              <a:ea typeface="굴림" charset="-127"/>
            </a:endParaRPr>
          </a:p>
          <a:p>
            <a:pPr eaLnBrk="1" hangingPunct="1">
              <a:lnSpc>
                <a:spcPct val="90000"/>
              </a:lnSpc>
              <a:buFontTx/>
              <a:buNone/>
              <a:tabLst>
                <a:tab pos="898525" algn="l"/>
              </a:tabLst>
            </a:pPr>
            <a:r>
              <a:rPr lang="en-US" altLang="ko-KR" dirty="0" smtClean="0">
                <a:ea typeface="굴림" charset="-127"/>
              </a:rPr>
              <a:t>3-1-4  Counseling in Online Community of </a:t>
            </a:r>
            <a:r>
              <a:rPr lang="en-US" altLang="ko-KR" dirty="0" err="1" smtClean="0">
                <a:ea typeface="굴림" charset="-127"/>
              </a:rPr>
              <a:t>Ostomates</a:t>
            </a:r>
            <a:endParaRPr lang="en-US" altLang="ko-KR" dirty="0" smtClean="0">
              <a:ea typeface="굴림" charset="-127"/>
            </a:endParaRPr>
          </a:p>
          <a:p>
            <a:pPr eaLnBrk="1" hangingPunct="1">
              <a:lnSpc>
                <a:spcPct val="90000"/>
              </a:lnSpc>
              <a:buFontTx/>
              <a:buNone/>
              <a:tabLst>
                <a:tab pos="898525" algn="l"/>
              </a:tabLst>
            </a:pPr>
            <a:r>
              <a:rPr lang="en-US" altLang="ko-KR" dirty="0" smtClean="0">
                <a:ea typeface="굴림" charset="-127"/>
              </a:rPr>
              <a:t>           </a:t>
            </a:r>
          </a:p>
          <a:p>
            <a:pPr eaLnBrk="1" hangingPunct="1">
              <a:lnSpc>
                <a:spcPct val="90000"/>
              </a:lnSpc>
              <a:buFontTx/>
              <a:buNone/>
              <a:tabLst>
                <a:tab pos="898525" algn="l"/>
              </a:tabLst>
            </a:pPr>
            <a:endParaRPr lang="en-US" altLang="ko-KR" dirty="0" smtClean="0">
              <a:ea typeface="굴림" charset="-127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929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endParaRPr lang="ko-KR" altLang="en-US" smtClean="0">
              <a:ea typeface="굴림" charset="-127"/>
            </a:endParaRPr>
          </a:p>
        </p:txBody>
      </p:sp>
      <p:sp>
        <p:nvSpPr>
          <p:cNvPr id="124930" name="Rectangle 3"/>
          <p:cNvSpPr>
            <a:spLocks noGrp="1" noChangeArrowheads="1"/>
          </p:cNvSpPr>
          <p:nvPr>
            <p:ph type="body" idx="4294967295"/>
          </p:nvPr>
        </p:nvSpPr>
        <p:spPr/>
        <p:txBody>
          <a:bodyPr/>
          <a:lstStyle/>
          <a:p>
            <a:endParaRPr lang="ko-KR" altLang="en-US" smtClean="0">
              <a:ea typeface="굴림" charset="-127"/>
            </a:endParaRPr>
          </a:p>
        </p:txBody>
      </p:sp>
      <p:pic>
        <p:nvPicPr>
          <p:cNvPr id="124931" name="Picture 4"/>
          <p:cNvPicPr>
            <a:picLocks noChangeAspect="1" noChangeArrowheads="1"/>
          </p:cNvPicPr>
          <p:nvPr/>
        </p:nvPicPr>
        <p:blipFill>
          <a:blip r:embed="rId2" cstate="print"/>
          <a:srcRect l="2956" t="8731" r="3139" b="4768"/>
          <a:stretch>
            <a:fillRect/>
          </a:stretch>
        </p:blipFill>
        <p:spPr bwMode="auto">
          <a:xfrm>
            <a:off x="179388" y="241300"/>
            <a:ext cx="8820150" cy="6500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953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863600" y="476673"/>
            <a:ext cx="7413625" cy="504055"/>
          </a:xfrm>
        </p:spPr>
        <p:txBody>
          <a:bodyPr/>
          <a:lstStyle/>
          <a:p>
            <a:r>
              <a:rPr lang="en-US" altLang="ko-KR" dirty="0" smtClean="0">
                <a:ea typeface="굴림" charset="-127"/>
              </a:rPr>
              <a:t>3-2. Stoma seminar</a:t>
            </a:r>
            <a:br>
              <a:rPr lang="en-US" altLang="ko-KR" dirty="0" smtClean="0">
                <a:ea typeface="굴림" charset="-127"/>
              </a:rPr>
            </a:br>
            <a:endParaRPr lang="ko-KR" altLang="en-US" dirty="0" smtClean="0">
              <a:ea typeface="굴림" charset="-127"/>
            </a:endParaRPr>
          </a:p>
        </p:txBody>
      </p:sp>
      <p:sp>
        <p:nvSpPr>
          <p:cNvPr id="125954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971550" y="980729"/>
            <a:ext cx="7632898" cy="720079"/>
          </a:xfrm>
        </p:spPr>
        <p:txBody>
          <a:bodyPr/>
          <a:lstStyle/>
          <a:p>
            <a:pPr>
              <a:buFontTx/>
              <a:buNone/>
            </a:pPr>
            <a:r>
              <a:rPr lang="en-US" altLang="ko-KR" dirty="0" smtClean="0">
                <a:ea typeface="굴림" charset="-127"/>
              </a:rPr>
              <a:t>             * Once a year, around Oct.</a:t>
            </a:r>
          </a:p>
          <a:p>
            <a:pPr>
              <a:buFontTx/>
              <a:buNone/>
            </a:pPr>
            <a:r>
              <a:rPr lang="en-US" altLang="ko-KR" dirty="0" smtClean="0">
                <a:ea typeface="굴림" charset="-127"/>
              </a:rPr>
              <a:t>             * Seminar with the famous Doctor for  </a:t>
            </a:r>
            <a:r>
              <a:rPr lang="en-US" altLang="ko-KR" dirty="0" err="1" smtClean="0">
                <a:ea typeface="굴림" charset="-127"/>
              </a:rPr>
              <a:t>Coloproctology</a:t>
            </a:r>
            <a:r>
              <a:rPr lang="en-US" altLang="ko-KR" dirty="0" smtClean="0">
                <a:ea typeface="굴림" charset="-127"/>
              </a:rPr>
              <a:t> and Urology </a:t>
            </a:r>
          </a:p>
          <a:p>
            <a:pPr>
              <a:buFontTx/>
              <a:buNone/>
            </a:pPr>
            <a:endParaRPr lang="en-US" altLang="ko-KR" dirty="0" smtClean="0">
              <a:ea typeface="굴림" charset="-127"/>
            </a:endParaRPr>
          </a:p>
          <a:p>
            <a:pPr>
              <a:buFontTx/>
              <a:buNone/>
            </a:pPr>
            <a:endParaRPr lang="en-US" altLang="ko-KR" dirty="0" smtClean="0">
              <a:ea typeface="굴림" charset="-127"/>
            </a:endParaRPr>
          </a:p>
        </p:txBody>
      </p:sp>
      <p:pic>
        <p:nvPicPr>
          <p:cNvPr id="4" name="Picture 3" descr="C:\Users\Ostomy\Documents\후원단체\공동모금회\2012세미나\사진\김채숙교수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1772816"/>
            <a:ext cx="3744416" cy="2808312"/>
          </a:xfrm>
          <a:prstGeom prst="rect">
            <a:avLst/>
          </a:prstGeom>
          <a:noFill/>
        </p:spPr>
      </p:pic>
      <p:pic>
        <p:nvPicPr>
          <p:cNvPr id="5" name="Picture 4" descr="DSC0216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076056" y="1844824"/>
            <a:ext cx="3647525" cy="26639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" descr="C:\Users\Ostomy\Documents\후원단체\공동모금회\2012세미나\사진\연주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843808" y="4077072"/>
            <a:ext cx="3744416" cy="256490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025" name="제목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en-US" altLang="ko-KR" smtClean="0">
                <a:ea typeface="굴림" charset="-127"/>
              </a:rPr>
              <a:t>3-3. Monthly meeting</a:t>
            </a:r>
          </a:p>
        </p:txBody>
      </p:sp>
      <p:sp>
        <p:nvSpPr>
          <p:cNvPr id="129026" name="내용 개체 틀 2"/>
          <p:cNvSpPr>
            <a:spLocks noGrp="1"/>
          </p:cNvSpPr>
          <p:nvPr>
            <p:ph idx="4294967295"/>
          </p:nvPr>
        </p:nvSpPr>
        <p:spPr>
          <a:xfrm>
            <a:off x="936625" y="1728788"/>
            <a:ext cx="7343775" cy="3816350"/>
          </a:xfrm>
        </p:spPr>
        <p:txBody>
          <a:bodyPr/>
          <a:lstStyle/>
          <a:p>
            <a:pPr eaLnBrk="1" hangingPunct="1"/>
            <a:r>
              <a:rPr lang="en-US" altLang="ko-KR" smtClean="0">
                <a:ea typeface="굴림" charset="-127"/>
              </a:rPr>
              <a:t>Every branches have their own schedules for the meeting.</a:t>
            </a:r>
          </a:p>
          <a:p>
            <a:pPr eaLnBrk="1" hangingPunct="1"/>
            <a:r>
              <a:rPr lang="en-US" altLang="ko-KR" smtClean="0">
                <a:ea typeface="굴림" charset="-127"/>
              </a:rPr>
              <a:t>Provide news about stoma and have a good time with the members.</a:t>
            </a:r>
          </a:p>
          <a:p>
            <a:pPr eaLnBrk="1" hangingPunct="1"/>
            <a:endParaRPr lang="en-US" altLang="ko-KR" smtClean="0">
              <a:ea typeface="굴림" charset="-127"/>
            </a:endParaRPr>
          </a:p>
        </p:txBody>
      </p:sp>
      <p:sp>
        <p:nvSpPr>
          <p:cNvPr id="129027" name="슬라이드 번호 개체 틀 3"/>
          <p:cNvSpPr txBox="1">
            <a:spLocks noGrp="1"/>
          </p:cNvSpPr>
          <p:nvPr/>
        </p:nvSpPr>
        <p:spPr bwMode="auto">
          <a:xfrm>
            <a:off x="8816975" y="104775"/>
            <a:ext cx="287338" cy="117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latinLnBrk="0"/>
            <a:fld id="{CA8910AF-5044-443A-B61B-34F724F1657C}" type="slidenum">
              <a:rPr kumimoji="0" lang="en-US" altLang="ko-KR" sz="900">
                <a:solidFill>
                  <a:schemeClr val="bg1"/>
                </a:solidFill>
              </a:rPr>
              <a:pPr latinLnBrk="0"/>
              <a:t>15</a:t>
            </a:fld>
            <a:endParaRPr kumimoji="0" lang="en-US" altLang="ko-KR" sz="900">
              <a:solidFill>
                <a:schemeClr val="bg1"/>
              </a:solidFill>
            </a:endParaRPr>
          </a:p>
        </p:txBody>
      </p:sp>
      <p:sp>
        <p:nvSpPr>
          <p:cNvPr id="129028" name="날짜 개체 틀 4"/>
          <p:cNvSpPr txBox="1">
            <a:spLocks noGrp="1"/>
          </p:cNvSpPr>
          <p:nvPr/>
        </p:nvSpPr>
        <p:spPr bwMode="auto">
          <a:xfrm>
            <a:off x="863600" y="104775"/>
            <a:ext cx="1079500" cy="117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latinLnBrk="0"/>
            <a:fld id="{80900343-35D1-4939-A037-4B60E3197C63}" type="datetime4">
              <a:rPr kumimoji="0" lang="en-GB" altLang="ko-KR" sz="900">
                <a:solidFill>
                  <a:schemeClr val="bg1"/>
                </a:solidFill>
              </a:rPr>
              <a:pPr latinLnBrk="0"/>
              <a:t>20 March 2017</a:t>
            </a:fld>
            <a:endParaRPr kumimoji="0" lang="en-US" altLang="ko-KR" sz="900">
              <a:solidFill>
                <a:schemeClr val="bg1"/>
              </a:solidFill>
            </a:endParaRPr>
          </a:p>
        </p:txBody>
      </p:sp>
      <p:pic>
        <p:nvPicPr>
          <p:cNvPr id="1026" name="Picture 2" descr="C:\Users\Ostomy\Desktop\resized_20170218_072710_1901914313[1]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883" y="2744231"/>
            <a:ext cx="2524982" cy="37246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http://cfile203.uf.daum.net/image/215346345849359C33387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9918" y="2631496"/>
            <a:ext cx="2586258" cy="1836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 descr="C:\Users\Ostomy\Desktop\DSCN0779[1]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3117" y="4542856"/>
            <a:ext cx="2653089" cy="20229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1" name="Picture 3" descr="C:\Users\Ostomy\Desktop\temp_1481035402678.-1452441602[1]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9647" y="2631496"/>
            <a:ext cx="2616777" cy="18027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3" name="Picture 5" descr="http://cfile236.uf.daum.net/original/22089D345849359B0AF139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9188" y="4528676"/>
            <a:ext cx="2586988" cy="1940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049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smtClean="0">
                <a:ea typeface="굴림" charset="-127"/>
              </a:rPr>
              <a:t>3-4. News-Letter</a:t>
            </a:r>
          </a:p>
        </p:txBody>
      </p:sp>
      <p:sp>
        <p:nvSpPr>
          <p:cNvPr id="13005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0113" y="1700213"/>
            <a:ext cx="7413625" cy="3814762"/>
          </a:xfrm>
        </p:spPr>
        <p:txBody>
          <a:bodyPr/>
          <a:lstStyle/>
          <a:p>
            <a:r>
              <a:rPr lang="en-US" altLang="ko-KR" smtClean="0">
                <a:ea typeface="굴림" charset="-127"/>
              </a:rPr>
              <a:t>We have a Ostomy News-Letter monthly published</a:t>
            </a:r>
          </a:p>
        </p:txBody>
      </p:sp>
      <p:pic>
        <p:nvPicPr>
          <p:cNvPr id="130051" name="Picture 4" descr="Photo269[1]"/>
          <p:cNvPicPr>
            <a:picLocks noChangeAspect="1" noChangeArrowheads="1"/>
          </p:cNvPicPr>
          <p:nvPr/>
        </p:nvPicPr>
        <p:blipFill>
          <a:blip r:embed="rId2" cstate="print"/>
          <a:srcRect t="16548" b="15535"/>
          <a:stretch>
            <a:fillRect/>
          </a:stretch>
        </p:blipFill>
        <p:spPr bwMode="auto">
          <a:xfrm>
            <a:off x="2124075" y="2105025"/>
            <a:ext cx="5040313" cy="4564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3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ea typeface="굴림" charset="-127"/>
              </a:rPr>
              <a:t>3-5. Picnics</a:t>
            </a:r>
          </a:p>
        </p:txBody>
      </p:sp>
      <p:sp>
        <p:nvSpPr>
          <p:cNvPr id="13107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300192" y="1727201"/>
            <a:ext cx="1977033" cy="1557784"/>
          </a:xfrm>
        </p:spPr>
        <p:txBody>
          <a:bodyPr/>
          <a:lstStyle/>
          <a:p>
            <a:endParaRPr lang="ko-KR" altLang="en-US" dirty="0" smtClean="0">
              <a:ea typeface="굴림" charset="-127"/>
            </a:endParaRPr>
          </a:p>
        </p:txBody>
      </p:sp>
      <p:pic>
        <p:nvPicPr>
          <p:cNvPr id="5" name="Picture 2" descr="C:\Users\Ostomy\Desktop\078[2].jpg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5536" y="1340768"/>
            <a:ext cx="4104456" cy="2592288"/>
          </a:xfrm>
          <a:prstGeom prst="rect">
            <a:avLst/>
          </a:prstGeom>
          <a:noFill/>
        </p:spPr>
      </p:pic>
      <p:pic>
        <p:nvPicPr>
          <p:cNvPr id="6" name="Picture 2" descr="C:\Users\Ostomy\Desktop\20130328_132817[1]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67544" y="4077618"/>
            <a:ext cx="4077447" cy="2448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6" name="Picture 2" descr="C:\Users\Ostomy\Desktop\20160428_110937[1]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3348" y="4045906"/>
            <a:ext cx="3907813" cy="2482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C:\Users\Ostomy\Desktop\resized_20170312_185611_81402907[1]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4925" y="1378094"/>
            <a:ext cx="3861531" cy="24829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21" name="제목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en-US" altLang="ko-KR" smtClean="0">
                <a:ea typeface="굴림" charset="-127"/>
              </a:rPr>
              <a:t>3-6. Ostomy products donation</a:t>
            </a:r>
          </a:p>
        </p:txBody>
      </p:sp>
      <p:sp>
        <p:nvSpPr>
          <p:cNvPr id="133122" name="내용 개체 틀 2"/>
          <p:cNvSpPr>
            <a:spLocks noGrp="1"/>
          </p:cNvSpPr>
          <p:nvPr>
            <p:ph idx="4294967295"/>
          </p:nvPr>
        </p:nvSpPr>
        <p:spPr/>
        <p:txBody>
          <a:bodyPr/>
          <a:lstStyle/>
          <a:p>
            <a:pPr eaLnBrk="1" hangingPunct="1"/>
            <a:r>
              <a:rPr lang="en-US" altLang="ko-KR" smtClean="0">
                <a:ea typeface="굴림" charset="-127"/>
              </a:rPr>
              <a:t>K.O.A members, products company donate ostomy products.</a:t>
            </a:r>
          </a:p>
          <a:p>
            <a:pPr eaLnBrk="1" hangingPunct="1"/>
            <a:r>
              <a:rPr lang="en-US" altLang="ko-KR" smtClean="0">
                <a:ea typeface="굴림" charset="-127"/>
              </a:rPr>
              <a:t>Send ostomates who need products.</a:t>
            </a:r>
          </a:p>
          <a:p>
            <a:pPr eaLnBrk="1" hangingPunct="1"/>
            <a:endParaRPr lang="en-US" altLang="ko-KR" smtClean="0">
              <a:ea typeface="굴림" charset="-127"/>
            </a:endParaRPr>
          </a:p>
        </p:txBody>
      </p:sp>
      <p:sp>
        <p:nvSpPr>
          <p:cNvPr id="133123" name="슬라이드 번호 개체 틀 3"/>
          <p:cNvSpPr txBox="1">
            <a:spLocks noGrp="1"/>
          </p:cNvSpPr>
          <p:nvPr/>
        </p:nvSpPr>
        <p:spPr bwMode="auto">
          <a:xfrm>
            <a:off x="8816975" y="104775"/>
            <a:ext cx="287338" cy="117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latinLnBrk="0"/>
            <a:fld id="{9224035F-5952-4ABD-91FE-949B3EDEAF1B}" type="slidenum">
              <a:rPr kumimoji="0" lang="en-US" altLang="ko-KR" sz="900">
                <a:solidFill>
                  <a:schemeClr val="bg1"/>
                </a:solidFill>
              </a:rPr>
              <a:pPr latinLnBrk="0"/>
              <a:t>18</a:t>
            </a:fld>
            <a:endParaRPr kumimoji="0" lang="en-US" altLang="ko-KR" sz="900">
              <a:solidFill>
                <a:schemeClr val="bg1"/>
              </a:solidFill>
            </a:endParaRPr>
          </a:p>
        </p:txBody>
      </p:sp>
      <p:sp>
        <p:nvSpPr>
          <p:cNvPr id="133124" name="날짜 개체 틀 4"/>
          <p:cNvSpPr txBox="1">
            <a:spLocks noGrp="1"/>
          </p:cNvSpPr>
          <p:nvPr/>
        </p:nvSpPr>
        <p:spPr bwMode="auto">
          <a:xfrm>
            <a:off x="863600" y="104775"/>
            <a:ext cx="1079500" cy="117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latinLnBrk="0"/>
            <a:fld id="{72655614-DB99-47EB-AC2A-DD640BF2F023}" type="datetime4">
              <a:rPr kumimoji="0" lang="en-GB" altLang="ko-KR" sz="900">
                <a:solidFill>
                  <a:schemeClr val="bg1"/>
                </a:solidFill>
              </a:rPr>
              <a:pPr latinLnBrk="0"/>
              <a:t>20 March 2017</a:t>
            </a:fld>
            <a:endParaRPr kumimoji="0" lang="en-US" altLang="ko-KR" sz="900">
              <a:solidFill>
                <a:schemeClr val="bg1"/>
              </a:solidFill>
            </a:endParaRPr>
          </a:p>
        </p:txBody>
      </p:sp>
      <p:pic>
        <p:nvPicPr>
          <p:cNvPr id="133125" name="그림 5" descr="Photo191[1].jpg"/>
          <p:cNvPicPr>
            <a:picLocks noChangeAspect="1"/>
          </p:cNvPicPr>
          <p:nvPr/>
        </p:nvPicPr>
        <p:blipFill>
          <a:blip r:embed="rId2" cstate="print"/>
          <a:srcRect t="25850" b="17451"/>
          <a:stretch>
            <a:fillRect/>
          </a:stretch>
        </p:blipFill>
        <p:spPr bwMode="auto">
          <a:xfrm>
            <a:off x="179512" y="2924944"/>
            <a:ext cx="4248472" cy="31201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http://cfile263.uf.daum.net/original/035DC650518C7225198D6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679504" y="2924944"/>
            <a:ext cx="4284984" cy="309634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14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smtClean="0">
                <a:ea typeface="굴림" charset="-127"/>
              </a:rPr>
              <a:t>3-7. Lobby activity for Ostomates right.</a:t>
            </a:r>
            <a:br>
              <a:rPr lang="en-US" altLang="ko-KR" smtClean="0">
                <a:ea typeface="굴림" charset="-127"/>
              </a:rPr>
            </a:br>
            <a:endParaRPr lang="ko-KR" altLang="en-US" smtClean="0">
              <a:ea typeface="굴림" charset="-127"/>
            </a:endParaRPr>
          </a:p>
        </p:txBody>
      </p:sp>
      <p:sp>
        <p:nvSpPr>
          <p:cNvPr id="13414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6625" y="1728788"/>
            <a:ext cx="7343775" cy="3816350"/>
          </a:xfrm>
        </p:spPr>
        <p:txBody>
          <a:bodyPr/>
          <a:lstStyle/>
          <a:p>
            <a:r>
              <a:rPr lang="ko-KR" altLang="en-US" smtClean="0">
                <a:ea typeface="굴림" charset="-127"/>
              </a:rPr>
              <a:t> </a:t>
            </a:r>
            <a:r>
              <a:rPr lang="en-US" altLang="ko-KR" smtClean="0">
                <a:ea typeface="굴림" charset="-127"/>
              </a:rPr>
              <a:t>Participate in many Disability Forums.</a:t>
            </a:r>
          </a:p>
          <a:p>
            <a:endParaRPr lang="en-US" altLang="ko-KR" smtClean="0">
              <a:ea typeface="굴림" charset="-127"/>
            </a:endParaRPr>
          </a:p>
          <a:p>
            <a:r>
              <a:rPr lang="en-US" altLang="ko-KR" smtClean="0">
                <a:ea typeface="굴림" charset="-127"/>
              </a:rPr>
              <a:t> Ask and struggle against the Government for Welfare of Ostomates</a:t>
            </a:r>
          </a:p>
          <a:p>
            <a:endParaRPr lang="en-US" altLang="ko-KR" smtClean="0">
              <a:ea typeface="굴림" charset="-127"/>
            </a:endParaRPr>
          </a:p>
          <a:p>
            <a:endParaRPr lang="en-US" altLang="ko-KR" smtClean="0">
              <a:ea typeface="굴림" charset="-127"/>
            </a:endParaRPr>
          </a:p>
        </p:txBody>
      </p:sp>
      <p:sp>
        <p:nvSpPr>
          <p:cNvPr id="134147" name="Rectangle 4"/>
          <p:cNvSpPr>
            <a:spLocks noChangeArrowheads="1"/>
          </p:cNvSpPr>
          <p:nvPr/>
        </p:nvSpPr>
        <p:spPr bwMode="auto">
          <a:xfrm>
            <a:off x="0" y="167640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ko-KR" altLang="en-US"/>
          </a:p>
        </p:txBody>
      </p:sp>
      <p:pic>
        <p:nvPicPr>
          <p:cNvPr id="8" name="Picture 7" descr="APDF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3501008"/>
            <a:ext cx="4103687" cy="2738437"/>
          </a:xfrm>
          <a:prstGeom prst="rect">
            <a:avLst/>
          </a:prstGeom>
          <a:noFill/>
        </p:spPr>
      </p:pic>
      <p:pic>
        <p:nvPicPr>
          <p:cNvPr id="9" name="Picture 10" descr="1292439170991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716463" y="3598863"/>
            <a:ext cx="4176712" cy="26892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17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E4A3D73F-725F-4482-8C6A-9971BCDB25A7}" type="slidenum">
              <a:rPr lang="en-GB" altLang="ko-KR" smtClean="0">
                <a:ea typeface="굴림" charset="-127"/>
              </a:rPr>
              <a:pPr/>
              <a:t>2</a:t>
            </a:fld>
            <a:endParaRPr lang="en-GB" altLang="ko-KR" smtClean="0">
              <a:ea typeface="굴림" charset="-127"/>
            </a:endParaRPr>
          </a:p>
        </p:txBody>
      </p:sp>
      <p:sp>
        <p:nvSpPr>
          <p:cNvPr id="111618" name="Date Placeholder 4"/>
          <p:cNvSpPr>
            <a:spLocks noGrp="1"/>
          </p:cNvSpPr>
          <p:nvPr>
            <p:ph type="dt" sz="quarter" idx="11"/>
          </p:nvPr>
        </p:nvSpPr>
        <p:spPr>
          <a:noFill/>
        </p:spPr>
        <p:txBody>
          <a:bodyPr/>
          <a:lstStyle/>
          <a:p>
            <a:fld id="{8D275F21-48CE-42BA-A5E8-3BC77407FD07}" type="datetime4">
              <a:rPr lang="en-GB" altLang="ko-KR" smtClean="0">
                <a:ea typeface="굴림" charset="-127"/>
              </a:rPr>
              <a:pPr/>
              <a:t>20 March 2017</a:t>
            </a:fld>
            <a:endParaRPr lang="en-GB" altLang="ko-KR" smtClean="0">
              <a:ea typeface="굴림" charset="-127"/>
            </a:endParaRPr>
          </a:p>
        </p:txBody>
      </p:sp>
      <p:sp>
        <p:nvSpPr>
          <p:cNvPr id="111619" name="Rectangle 2"/>
          <p:cNvSpPr>
            <a:spLocks noChangeArrowheads="1"/>
          </p:cNvSpPr>
          <p:nvPr/>
        </p:nvSpPr>
        <p:spPr bwMode="auto">
          <a:xfrm>
            <a:off x="1260475" y="3340100"/>
            <a:ext cx="651827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latinLnBrk="0"/>
            <a:endParaRPr kumimoji="0" lang="en-US" altLang="ko-KR"/>
          </a:p>
        </p:txBody>
      </p:sp>
      <p:sp>
        <p:nvSpPr>
          <p:cNvPr id="111620" name="Rectangle 3"/>
          <p:cNvSpPr>
            <a:spLocks noGrp="1" noChangeArrowheads="1"/>
          </p:cNvSpPr>
          <p:nvPr>
            <p:ph type="title"/>
          </p:nvPr>
        </p:nvSpPr>
        <p:spPr>
          <a:xfrm>
            <a:off x="358775" y="836613"/>
            <a:ext cx="7413625" cy="863600"/>
          </a:xfrm>
        </p:spPr>
        <p:txBody>
          <a:bodyPr/>
          <a:lstStyle/>
          <a:p>
            <a:pPr eaLnBrk="1" hangingPunct="1"/>
            <a:r>
              <a:rPr lang="en-US" altLang="ko-KR" smtClean="0">
                <a:ea typeface="굴림" charset="-127"/>
              </a:rPr>
              <a:t>Contents</a:t>
            </a:r>
          </a:p>
        </p:txBody>
      </p:sp>
      <p:sp>
        <p:nvSpPr>
          <p:cNvPr id="111621" name="Rectangle 4"/>
          <p:cNvSpPr>
            <a:spLocks noGrp="1" noChangeArrowheads="1"/>
          </p:cNvSpPr>
          <p:nvPr>
            <p:ph type="body" idx="1"/>
          </p:nvPr>
        </p:nvSpPr>
        <p:spPr>
          <a:xfrm>
            <a:off x="1335088" y="1916113"/>
            <a:ext cx="6486525" cy="2998787"/>
          </a:xfrm>
        </p:spPr>
        <p:txBody>
          <a:bodyPr/>
          <a:lstStyle/>
          <a:p>
            <a:pPr marL="187325" indent="-187325" eaLnBrk="1" hangingPunct="1">
              <a:lnSpc>
                <a:spcPct val="160000"/>
              </a:lnSpc>
              <a:buFontTx/>
              <a:buNone/>
              <a:tabLst/>
            </a:pPr>
            <a:r>
              <a:rPr lang="en-US" altLang="ko-KR" sz="2400" b="1" dirty="0" smtClean="0">
                <a:ea typeface="굴림" charset="-127"/>
              </a:rPr>
              <a:t>1. Status of </a:t>
            </a:r>
            <a:r>
              <a:rPr lang="en-US" altLang="ko-KR" sz="2400" b="1" dirty="0" err="1" smtClean="0">
                <a:ea typeface="굴림" charset="-127"/>
              </a:rPr>
              <a:t>Ostomates</a:t>
            </a:r>
            <a:r>
              <a:rPr lang="en-US" altLang="ko-KR" sz="2400" b="1" dirty="0" smtClean="0">
                <a:ea typeface="굴림" charset="-127"/>
              </a:rPr>
              <a:t> in Korea</a:t>
            </a:r>
          </a:p>
          <a:p>
            <a:pPr marL="187325" indent="-187325" eaLnBrk="1" hangingPunct="1">
              <a:lnSpc>
                <a:spcPct val="160000"/>
              </a:lnSpc>
              <a:buFontTx/>
              <a:buNone/>
              <a:tabLst/>
            </a:pPr>
            <a:r>
              <a:rPr lang="en-US" altLang="ko-KR" sz="2400" b="1" dirty="0" smtClean="0">
                <a:ea typeface="굴림" charset="-127"/>
              </a:rPr>
              <a:t>2. Introduction of K.O.A</a:t>
            </a:r>
          </a:p>
          <a:p>
            <a:pPr marL="187325" indent="-187325" eaLnBrk="1" hangingPunct="1">
              <a:lnSpc>
                <a:spcPct val="160000"/>
              </a:lnSpc>
              <a:buFontTx/>
              <a:buNone/>
              <a:tabLst/>
            </a:pPr>
            <a:r>
              <a:rPr lang="en-US" altLang="ko-KR" sz="2400" b="1" dirty="0" smtClean="0">
                <a:ea typeface="굴림" charset="-127"/>
              </a:rPr>
              <a:t>3. K.O.A activity</a:t>
            </a:r>
          </a:p>
          <a:p>
            <a:pPr marL="187325" indent="-187325" eaLnBrk="1" hangingPunct="1">
              <a:lnSpc>
                <a:spcPct val="160000"/>
              </a:lnSpc>
              <a:tabLst/>
            </a:pPr>
            <a:endParaRPr lang="en-US" altLang="ko-KR" b="1" dirty="0" smtClean="0">
              <a:ea typeface="굴림" charset="-127"/>
            </a:endParaRPr>
          </a:p>
        </p:txBody>
      </p:sp>
      <p:sp>
        <p:nvSpPr>
          <p:cNvPr id="111622" name="직사각형 7"/>
          <p:cNvSpPr>
            <a:spLocks noChangeArrowheads="1"/>
          </p:cNvSpPr>
          <p:nvPr/>
        </p:nvSpPr>
        <p:spPr bwMode="auto">
          <a:xfrm>
            <a:off x="7308850" y="6308725"/>
            <a:ext cx="1746250" cy="396875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/>
          <a:lstStyle/>
          <a:p>
            <a:pPr latinLnBrk="0"/>
            <a:endParaRPr kumimoji="0" lang="en-US" altLang="ko-KR" sz="1400"/>
          </a:p>
        </p:txBody>
      </p:sp>
      <p:sp>
        <p:nvSpPr>
          <p:cNvPr id="111623" name="직사각형 8"/>
          <p:cNvSpPr>
            <a:spLocks noChangeArrowheads="1"/>
          </p:cNvSpPr>
          <p:nvPr/>
        </p:nvSpPr>
        <p:spPr bwMode="auto">
          <a:xfrm>
            <a:off x="196850" y="6308725"/>
            <a:ext cx="1746250" cy="396875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/>
          <a:lstStyle/>
          <a:p>
            <a:pPr latinLnBrk="0"/>
            <a:endParaRPr kumimoji="0" lang="en-US" altLang="ko-KR" sz="140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 dirty="0"/>
          </a:p>
        </p:txBody>
      </p:sp>
      <p:pic>
        <p:nvPicPr>
          <p:cNvPr id="41986" name="Picture 2" descr="http://cfile212.uf.daum.net/original/135D2737508FD4EC31C9F9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16016" y="404664"/>
            <a:ext cx="4248472" cy="3096344"/>
          </a:xfrm>
          <a:prstGeom prst="rect">
            <a:avLst/>
          </a:prstGeom>
          <a:noFill/>
        </p:spPr>
      </p:pic>
      <p:pic>
        <p:nvPicPr>
          <p:cNvPr id="6" name="Picture 2" descr="http://cfile201.uf.daum.net/original/122A5F3650965E0B01844B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7504" y="3573016"/>
            <a:ext cx="4464496" cy="3096344"/>
          </a:xfrm>
          <a:prstGeom prst="rect">
            <a:avLst/>
          </a:prstGeom>
          <a:noFill/>
        </p:spPr>
      </p:pic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ko-KR" altLang="en-US" dirty="0"/>
          </a:p>
        </p:txBody>
      </p:sp>
      <p:pic>
        <p:nvPicPr>
          <p:cNvPr id="3074" name="Picture 2" descr="C:\Users\Ostomy\Desktop\IMG_7622[1]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568" y="472269"/>
            <a:ext cx="4444609" cy="29611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5" name="Picture 3" descr="C:\Users\Ostomy\Desktop\c_0_004320151120091116359183[1]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6016" y="3682653"/>
            <a:ext cx="4248472" cy="29811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193" name="Rectangle 2"/>
          <p:cNvSpPr>
            <a:spLocks noGrp="1" noChangeArrowheads="1"/>
          </p:cNvSpPr>
          <p:nvPr>
            <p:ph type="title"/>
          </p:nvPr>
        </p:nvSpPr>
        <p:spPr>
          <a:xfrm>
            <a:off x="863600" y="332657"/>
            <a:ext cx="7413625" cy="432047"/>
          </a:xfrm>
        </p:spPr>
        <p:txBody>
          <a:bodyPr/>
          <a:lstStyle/>
          <a:p>
            <a:r>
              <a:rPr lang="en-US" altLang="ko-KR" dirty="0" smtClean="0">
                <a:ea typeface="굴림" charset="-127"/>
              </a:rPr>
              <a:t>3-8 Home Visiting  Care</a:t>
            </a:r>
          </a:p>
        </p:txBody>
      </p:sp>
      <p:sp>
        <p:nvSpPr>
          <p:cNvPr id="13619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0113" y="692697"/>
            <a:ext cx="7413625" cy="432047"/>
          </a:xfrm>
        </p:spPr>
        <p:txBody>
          <a:bodyPr/>
          <a:lstStyle/>
          <a:p>
            <a:pPr>
              <a:buFontTx/>
              <a:buNone/>
            </a:pPr>
            <a:r>
              <a:rPr lang="en-US" altLang="ko-KR" dirty="0" smtClean="0">
                <a:ea typeface="굴림" charset="-127"/>
              </a:rPr>
              <a:t>  *  Visit homes of </a:t>
            </a:r>
            <a:r>
              <a:rPr lang="en-US" altLang="ko-KR" dirty="0" err="1" smtClean="0">
                <a:ea typeface="굴림" charset="-127"/>
              </a:rPr>
              <a:t>ostomates</a:t>
            </a:r>
            <a:r>
              <a:rPr lang="en-US" altLang="ko-KR" dirty="0" smtClean="0">
                <a:ea typeface="굴림" charset="-127"/>
              </a:rPr>
              <a:t> to care them.</a:t>
            </a:r>
          </a:p>
          <a:p>
            <a:pPr>
              <a:buFontTx/>
              <a:buNone/>
            </a:pPr>
            <a:endParaRPr lang="en-US" altLang="ko-KR" dirty="0" smtClean="0">
              <a:ea typeface="굴림" charset="-127"/>
            </a:endParaRPr>
          </a:p>
          <a:p>
            <a:pPr>
              <a:buFontTx/>
              <a:buNone/>
            </a:pPr>
            <a:r>
              <a:rPr lang="en-US" altLang="ko-KR" dirty="0" smtClean="0">
                <a:ea typeface="굴림" charset="-127"/>
              </a:rPr>
              <a:t>   </a:t>
            </a:r>
          </a:p>
        </p:txBody>
      </p:sp>
      <p:pic>
        <p:nvPicPr>
          <p:cNvPr id="4" name="Picture 2" descr="C:\Users\Ostomy\Desktop\20130711_11321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84" y="1124744"/>
            <a:ext cx="4353593" cy="2952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3" descr="C:\Users\Ostomy\Desktop\20130620_163133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715508" y="1052736"/>
            <a:ext cx="4428492" cy="30243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5" descr="C:\Users\Ostomy\Desktop\20130619_140729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267744" y="3789040"/>
            <a:ext cx="4320480" cy="288111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63600" y="476673"/>
            <a:ext cx="7413625" cy="792088"/>
          </a:xfrm>
        </p:spPr>
        <p:txBody>
          <a:bodyPr/>
          <a:lstStyle/>
          <a:p>
            <a:r>
              <a:rPr lang="en-US" altLang="ko-KR" dirty="0" smtClean="0"/>
              <a:t>3-9 World Meetings</a:t>
            </a:r>
            <a:br>
              <a:rPr lang="en-US" altLang="ko-KR" dirty="0" smtClean="0"/>
            </a:br>
            <a:r>
              <a:rPr lang="en-US" altLang="ko-KR" dirty="0" smtClean="0"/>
              <a:t>      IOA General Meeting in Frankfurt, 2010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3E7613F-BA4D-450B-BF94-69535E1E4987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6536232F-FFC1-43F7-B9CA-102D7AA037DA}" type="datetime4">
              <a:rPr lang="en-GB" smtClean="0"/>
              <a:pPr>
                <a:defRPr/>
              </a:pPr>
              <a:t>20 March 2017</a:t>
            </a:fld>
            <a:endParaRPr lang="en-US" dirty="0"/>
          </a:p>
        </p:txBody>
      </p:sp>
      <p:pic>
        <p:nvPicPr>
          <p:cNvPr id="6" name="Picture 2" descr="http://cfile235.uf.daum.net/original/16445C4D4E6C59CD0BD9B8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12" y="1196752"/>
            <a:ext cx="4392488" cy="3157101"/>
          </a:xfrm>
          <a:prstGeom prst="rect">
            <a:avLst/>
          </a:prstGeom>
          <a:noFill/>
        </p:spPr>
      </p:pic>
      <p:pic>
        <p:nvPicPr>
          <p:cNvPr id="1026" name="Picture 2" descr="C:\Users\Ostomy\Desktop\AOA2_(2)[1].jpg"/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015541" y="1196752"/>
            <a:ext cx="4128459" cy="3096344"/>
          </a:xfrm>
          <a:prstGeom prst="rect">
            <a:avLst/>
          </a:prstGeom>
          <a:noFill/>
        </p:spPr>
      </p:pic>
      <p:pic>
        <p:nvPicPr>
          <p:cNvPr id="1027" name="Picture 3" descr="C:\Users\Ostomy\Desktop\IOA3[1]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059832" y="4183093"/>
            <a:ext cx="3566542" cy="2674907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63600" y="620688"/>
            <a:ext cx="7413625" cy="1079525"/>
          </a:xfrm>
        </p:spPr>
        <p:txBody>
          <a:bodyPr/>
          <a:lstStyle/>
          <a:p>
            <a:r>
              <a:rPr lang="en-US" altLang="ko-KR" dirty="0" smtClean="0"/>
              <a:t>ASPOA General Meeting in Iran, 2011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3E7613F-BA4D-450B-BF94-69535E1E4987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6536232F-FFC1-43F7-B9CA-102D7AA037DA}" type="datetime4">
              <a:rPr lang="en-GB" smtClean="0"/>
              <a:pPr>
                <a:defRPr/>
              </a:pPr>
              <a:t>20 March 2017</a:t>
            </a:fld>
            <a:endParaRPr lang="en-US" dirty="0"/>
          </a:p>
        </p:txBody>
      </p:sp>
      <p:pic>
        <p:nvPicPr>
          <p:cNvPr id="6" name="Picture 2" descr="http://cfile231.uf.daum.net/original/1151DA434EABBE1F2B834C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1052736"/>
            <a:ext cx="4323308" cy="2880319"/>
          </a:xfrm>
          <a:prstGeom prst="rect">
            <a:avLst/>
          </a:prstGeom>
          <a:noFill/>
        </p:spPr>
      </p:pic>
      <p:pic>
        <p:nvPicPr>
          <p:cNvPr id="7" name="Picture 2" descr="http://cfile234.uf.daum.net/original/204DE8434EABBE1A316F8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716016" y="1052736"/>
            <a:ext cx="4218613" cy="2880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2" descr="http://cfile240.uf.daum.net/original/1544FC404EABC07034FA0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23528" y="4005064"/>
            <a:ext cx="4248472" cy="2664296"/>
          </a:xfrm>
          <a:prstGeom prst="rect">
            <a:avLst/>
          </a:prstGeom>
          <a:noFill/>
        </p:spPr>
      </p:pic>
      <p:pic>
        <p:nvPicPr>
          <p:cNvPr id="9" name="Picture 2" descr="http://cfile219.uf.daum.net/original/134D63454EABBF8F2D1E49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716016" y="4005064"/>
            <a:ext cx="4248472" cy="2664296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41" name="제목 1"/>
          <p:cNvSpPr>
            <a:spLocks noGrp="1"/>
          </p:cNvSpPr>
          <p:nvPr>
            <p:ph type="title"/>
          </p:nvPr>
        </p:nvSpPr>
        <p:spPr>
          <a:xfrm>
            <a:off x="0" y="333375"/>
            <a:ext cx="4068763" cy="801688"/>
          </a:xfrm>
        </p:spPr>
        <p:txBody>
          <a:bodyPr/>
          <a:lstStyle/>
          <a:p>
            <a:pPr eaLnBrk="1" hangingPunct="1"/>
            <a:r>
              <a:rPr lang="en-US" altLang="ko-KR" smtClean="0">
                <a:solidFill>
                  <a:schemeClr val="bg1"/>
                </a:solidFill>
                <a:ea typeface="굴림" charset="-127"/>
              </a:rPr>
              <a:t>Demographics</a:t>
            </a:r>
          </a:p>
        </p:txBody>
      </p:sp>
      <p:sp>
        <p:nvSpPr>
          <p:cNvPr id="112642" name="슬라이드 번호 개체 틀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15A1BBCD-B66F-4656-9EBE-C1271DFADD8E}" type="slidenum">
              <a:rPr lang="en-US" altLang="ko-KR" smtClean="0">
                <a:ea typeface="굴림" charset="-127"/>
              </a:rPr>
              <a:pPr/>
              <a:t>3</a:t>
            </a:fld>
            <a:endParaRPr lang="en-US" altLang="ko-KR" smtClean="0">
              <a:ea typeface="굴림" charset="-127"/>
            </a:endParaRPr>
          </a:p>
        </p:txBody>
      </p:sp>
      <p:sp>
        <p:nvSpPr>
          <p:cNvPr id="6" name="Freeform 40"/>
          <p:cNvSpPr>
            <a:spLocks/>
          </p:cNvSpPr>
          <p:nvPr/>
        </p:nvSpPr>
        <p:spPr bwMode="ltGray">
          <a:xfrm>
            <a:off x="4763" y="260350"/>
            <a:ext cx="5143500" cy="6546850"/>
          </a:xfrm>
          <a:custGeom>
            <a:avLst/>
            <a:gdLst/>
            <a:ahLst/>
            <a:cxnLst>
              <a:cxn ang="0">
                <a:pos x="77" y="3626"/>
              </a:cxn>
              <a:cxn ang="0">
                <a:pos x="146" y="3494"/>
              </a:cxn>
              <a:cxn ang="0">
                <a:pos x="179" y="3443"/>
              </a:cxn>
              <a:cxn ang="0">
                <a:pos x="263" y="3308"/>
              </a:cxn>
              <a:cxn ang="0">
                <a:pos x="353" y="3170"/>
              </a:cxn>
              <a:cxn ang="0">
                <a:pos x="383" y="3104"/>
              </a:cxn>
              <a:cxn ang="0">
                <a:pos x="419" y="3041"/>
              </a:cxn>
              <a:cxn ang="0">
                <a:pos x="452" y="3008"/>
              </a:cxn>
              <a:cxn ang="0">
                <a:pos x="308" y="2915"/>
              </a:cxn>
              <a:cxn ang="0">
                <a:pos x="173" y="2951"/>
              </a:cxn>
              <a:cxn ang="0">
                <a:pos x="416" y="2837"/>
              </a:cxn>
              <a:cxn ang="0">
                <a:pos x="368" y="2696"/>
              </a:cxn>
              <a:cxn ang="0">
                <a:pos x="317" y="2657"/>
              </a:cxn>
              <a:cxn ang="0">
                <a:pos x="419" y="2615"/>
              </a:cxn>
              <a:cxn ang="0">
                <a:pos x="311" y="2330"/>
              </a:cxn>
              <a:cxn ang="0">
                <a:pos x="188" y="2090"/>
              </a:cxn>
              <a:cxn ang="0">
                <a:pos x="311" y="1925"/>
              </a:cxn>
              <a:cxn ang="0">
                <a:pos x="407" y="1922"/>
              </a:cxn>
              <a:cxn ang="0">
                <a:pos x="572" y="1817"/>
              </a:cxn>
              <a:cxn ang="0">
                <a:pos x="590" y="1727"/>
              </a:cxn>
              <a:cxn ang="0">
                <a:pos x="395" y="1646"/>
              </a:cxn>
              <a:cxn ang="0">
                <a:pos x="152" y="1673"/>
              </a:cxn>
              <a:cxn ang="0">
                <a:pos x="149" y="1538"/>
              </a:cxn>
              <a:cxn ang="0">
                <a:pos x="71" y="1367"/>
              </a:cxn>
              <a:cxn ang="0">
                <a:pos x="245" y="1379"/>
              </a:cxn>
              <a:cxn ang="0">
                <a:pos x="470" y="1217"/>
              </a:cxn>
              <a:cxn ang="0">
                <a:pos x="668" y="1139"/>
              </a:cxn>
              <a:cxn ang="0">
                <a:pos x="593" y="1334"/>
              </a:cxn>
              <a:cxn ang="0">
                <a:pos x="593" y="1460"/>
              </a:cxn>
              <a:cxn ang="0">
                <a:pos x="611" y="1469"/>
              </a:cxn>
              <a:cxn ang="0">
                <a:pos x="947" y="1361"/>
              </a:cxn>
              <a:cxn ang="0">
                <a:pos x="1109" y="1424"/>
              </a:cxn>
              <a:cxn ang="0">
                <a:pos x="1058" y="1580"/>
              </a:cxn>
              <a:cxn ang="0">
                <a:pos x="983" y="1670"/>
              </a:cxn>
              <a:cxn ang="0">
                <a:pos x="1055" y="1712"/>
              </a:cxn>
              <a:cxn ang="0">
                <a:pos x="1214" y="1736"/>
              </a:cxn>
              <a:cxn ang="0">
                <a:pos x="1259" y="1898"/>
              </a:cxn>
              <a:cxn ang="0">
                <a:pos x="1208" y="1931"/>
              </a:cxn>
              <a:cxn ang="0">
                <a:pos x="1205" y="2105"/>
              </a:cxn>
              <a:cxn ang="0">
                <a:pos x="1184" y="2285"/>
              </a:cxn>
              <a:cxn ang="0">
                <a:pos x="1148" y="2333"/>
              </a:cxn>
              <a:cxn ang="0">
                <a:pos x="1280" y="2267"/>
              </a:cxn>
              <a:cxn ang="0">
                <a:pos x="1316" y="2267"/>
              </a:cxn>
              <a:cxn ang="0">
                <a:pos x="1361" y="2261"/>
              </a:cxn>
              <a:cxn ang="0">
                <a:pos x="1415" y="2234"/>
              </a:cxn>
              <a:cxn ang="0">
                <a:pos x="1616" y="2060"/>
              </a:cxn>
              <a:cxn ang="0">
                <a:pos x="1595" y="1832"/>
              </a:cxn>
              <a:cxn ang="0">
                <a:pos x="1433" y="1544"/>
              </a:cxn>
              <a:cxn ang="0">
                <a:pos x="1391" y="1406"/>
              </a:cxn>
              <a:cxn ang="0">
                <a:pos x="1604" y="1304"/>
              </a:cxn>
              <a:cxn ang="0">
                <a:pos x="1679" y="1121"/>
              </a:cxn>
              <a:cxn ang="0">
                <a:pos x="1829" y="1004"/>
              </a:cxn>
              <a:cxn ang="0">
                <a:pos x="1991" y="842"/>
              </a:cxn>
              <a:cxn ang="0">
                <a:pos x="2036" y="899"/>
              </a:cxn>
              <a:cxn ang="0">
                <a:pos x="2267" y="911"/>
              </a:cxn>
              <a:cxn ang="0">
                <a:pos x="2534" y="647"/>
              </a:cxn>
              <a:cxn ang="0">
                <a:pos x="2768" y="347"/>
              </a:cxn>
              <a:cxn ang="0">
                <a:pos x="2855" y="155"/>
              </a:cxn>
            </a:cxnLst>
            <a:rect l="0" t="0" r="r" b="b"/>
            <a:pathLst>
              <a:path w="2934" h="3703">
                <a:moveTo>
                  <a:pt x="2934" y="0"/>
                </a:moveTo>
                <a:lnTo>
                  <a:pt x="0" y="0"/>
                </a:lnTo>
                <a:lnTo>
                  <a:pt x="0" y="3703"/>
                </a:lnTo>
                <a:lnTo>
                  <a:pt x="65" y="3665"/>
                </a:lnTo>
                <a:lnTo>
                  <a:pt x="77" y="3626"/>
                </a:lnTo>
                <a:lnTo>
                  <a:pt x="107" y="3629"/>
                </a:lnTo>
                <a:lnTo>
                  <a:pt x="116" y="3590"/>
                </a:lnTo>
                <a:lnTo>
                  <a:pt x="143" y="3578"/>
                </a:lnTo>
                <a:lnTo>
                  <a:pt x="164" y="3506"/>
                </a:lnTo>
                <a:lnTo>
                  <a:pt x="146" y="3494"/>
                </a:lnTo>
                <a:lnTo>
                  <a:pt x="140" y="3479"/>
                </a:lnTo>
                <a:lnTo>
                  <a:pt x="158" y="3467"/>
                </a:lnTo>
                <a:lnTo>
                  <a:pt x="167" y="3485"/>
                </a:lnTo>
                <a:lnTo>
                  <a:pt x="185" y="3482"/>
                </a:lnTo>
                <a:lnTo>
                  <a:pt x="179" y="3443"/>
                </a:lnTo>
                <a:lnTo>
                  <a:pt x="209" y="3419"/>
                </a:lnTo>
                <a:lnTo>
                  <a:pt x="215" y="3374"/>
                </a:lnTo>
                <a:lnTo>
                  <a:pt x="239" y="3356"/>
                </a:lnTo>
                <a:lnTo>
                  <a:pt x="263" y="3335"/>
                </a:lnTo>
                <a:lnTo>
                  <a:pt x="263" y="3308"/>
                </a:lnTo>
                <a:lnTo>
                  <a:pt x="284" y="3251"/>
                </a:lnTo>
                <a:lnTo>
                  <a:pt x="329" y="3284"/>
                </a:lnTo>
                <a:lnTo>
                  <a:pt x="347" y="3242"/>
                </a:lnTo>
                <a:lnTo>
                  <a:pt x="359" y="3203"/>
                </a:lnTo>
                <a:lnTo>
                  <a:pt x="353" y="3170"/>
                </a:lnTo>
                <a:lnTo>
                  <a:pt x="371" y="3140"/>
                </a:lnTo>
                <a:lnTo>
                  <a:pt x="359" y="3125"/>
                </a:lnTo>
                <a:lnTo>
                  <a:pt x="341" y="3107"/>
                </a:lnTo>
                <a:lnTo>
                  <a:pt x="374" y="3083"/>
                </a:lnTo>
                <a:lnTo>
                  <a:pt x="383" y="3104"/>
                </a:lnTo>
                <a:lnTo>
                  <a:pt x="404" y="3104"/>
                </a:lnTo>
                <a:lnTo>
                  <a:pt x="425" y="3071"/>
                </a:lnTo>
                <a:lnTo>
                  <a:pt x="446" y="3041"/>
                </a:lnTo>
                <a:lnTo>
                  <a:pt x="443" y="3035"/>
                </a:lnTo>
                <a:lnTo>
                  <a:pt x="419" y="3041"/>
                </a:lnTo>
                <a:lnTo>
                  <a:pt x="371" y="3044"/>
                </a:lnTo>
                <a:lnTo>
                  <a:pt x="371" y="3032"/>
                </a:lnTo>
                <a:lnTo>
                  <a:pt x="392" y="3029"/>
                </a:lnTo>
                <a:lnTo>
                  <a:pt x="413" y="3017"/>
                </a:lnTo>
                <a:lnTo>
                  <a:pt x="452" y="3008"/>
                </a:lnTo>
                <a:lnTo>
                  <a:pt x="470" y="2999"/>
                </a:lnTo>
                <a:lnTo>
                  <a:pt x="401" y="2978"/>
                </a:lnTo>
                <a:lnTo>
                  <a:pt x="374" y="2942"/>
                </a:lnTo>
                <a:lnTo>
                  <a:pt x="344" y="2918"/>
                </a:lnTo>
                <a:lnTo>
                  <a:pt x="308" y="2915"/>
                </a:lnTo>
                <a:lnTo>
                  <a:pt x="296" y="2942"/>
                </a:lnTo>
                <a:lnTo>
                  <a:pt x="260" y="2954"/>
                </a:lnTo>
                <a:lnTo>
                  <a:pt x="245" y="2936"/>
                </a:lnTo>
                <a:lnTo>
                  <a:pt x="227" y="2936"/>
                </a:lnTo>
                <a:lnTo>
                  <a:pt x="173" y="2951"/>
                </a:lnTo>
                <a:lnTo>
                  <a:pt x="215" y="2921"/>
                </a:lnTo>
                <a:lnTo>
                  <a:pt x="275" y="2909"/>
                </a:lnTo>
                <a:lnTo>
                  <a:pt x="320" y="2873"/>
                </a:lnTo>
                <a:lnTo>
                  <a:pt x="365" y="2840"/>
                </a:lnTo>
                <a:lnTo>
                  <a:pt x="416" y="2837"/>
                </a:lnTo>
                <a:lnTo>
                  <a:pt x="428" y="2825"/>
                </a:lnTo>
                <a:lnTo>
                  <a:pt x="452" y="2822"/>
                </a:lnTo>
                <a:lnTo>
                  <a:pt x="437" y="2780"/>
                </a:lnTo>
                <a:lnTo>
                  <a:pt x="407" y="2738"/>
                </a:lnTo>
                <a:lnTo>
                  <a:pt x="368" y="2696"/>
                </a:lnTo>
                <a:lnTo>
                  <a:pt x="311" y="2672"/>
                </a:lnTo>
                <a:lnTo>
                  <a:pt x="269" y="2636"/>
                </a:lnTo>
                <a:lnTo>
                  <a:pt x="233" y="2597"/>
                </a:lnTo>
                <a:lnTo>
                  <a:pt x="284" y="2615"/>
                </a:lnTo>
                <a:lnTo>
                  <a:pt x="317" y="2657"/>
                </a:lnTo>
                <a:lnTo>
                  <a:pt x="377" y="2669"/>
                </a:lnTo>
                <a:lnTo>
                  <a:pt x="434" y="2702"/>
                </a:lnTo>
                <a:lnTo>
                  <a:pt x="464" y="2693"/>
                </a:lnTo>
                <a:lnTo>
                  <a:pt x="455" y="2648"/>
                </a:lnTo>
                <a:lnTo>
                  <a:pt x="419" y="2615"/>
                </a:lnTo>
                <a:lnTo>
                  <a:pt x="410" y="2588"/>
                </a:lnTo>
                <a:lnTo>
                  <a:pt x="383" y="2558"/>
                </a:lnTo>
                <a:lnTo>
                  <a:pt x="338" y="2525"/>
                </a:lnTo>
                <a:lnTo>
                  <a:pt x="335" y="2432"/>
                </a:lnTo>
                <a:lnTo>
                  <a:pt x="311" y="2330"/>
                </a:lnTo>
                <a:lnTo>
                  <a:pt x="275" y="2231"/>
                </a:lnTo>
                <a:lnTo>
                  <a:pt x="191" y="2165"/>
                </a:lnTo>
                <a:lnTo>
                  <a:pt x="170" y="2168"/>
                </a:lnTo>
                <a:lnTo>
                  <a:pt x="161" y="2105"/>
                </a:lnTo>
                <a:lnTo>
                  <a:pt x="188" y="2090"/>
                </a:lnTo>
                <a:lnTo>
                  <a:pt x="269" y="1979"/>
                </a:lnTo>
                <a:lnTo>
                  <a:pt x="314" y="1961"/>
                </a:lnTo>
                <a:lnTo>
                  <a:pt x="332" y="1949"/>
                </a:lnTo>
                <a:lnTo>
                  <a:pt x="311" y="1943"/>
                </a:lnTo>
                <a:lnTo>
                  <a:pt x="311" y="1925"/>
                </a:lnTo>
                <a:lnTo>
                  <a:pt x="329" y="1907"/>
                </a:lnTo>
                <a:lnTo>
                  <a:pt x="365" y="1904"/>
                </a:lnTo>
                <a:lnTo>
                  <a:pt x="362" y="1931"/>
                </a:lnTo>
                <a:lnTo>
                  <a:pt x="374" y="1940"/>
                </a:lnTo>
                <a:lnTo>
                  <a:pt x="407" y="1922"/>
                </a:lnTo>
                <a:lnTo>
                  <a:pt x="410" y="1877"/>
                </a:lnTo>
                <a:lnTo>
                  <a:pt x="428" y="1868"/>
                </a:lnTo>
                <a:lnTo>
                  <a:pt x="431" y="1844"/>
                </a:lnTo>
                <a:lnTo>
                  <a:pt x="482" y="1838"/>
                </a:lnTo>
                <a:lnTo>
                  <a:pt x="572" y="1817"/>
                </a:lnTo>
                <a:lnTo>
                  <a:pt x="650" y="1826"/>
                </a:lnTo>
                <a:lnTo>
                  <a:pt x="647" y="1775"/>
                </a:lnTo>
                <a:lnTo>
                  <a:pt x="683" y="1748"/>
                </a:lnTo>
                <a:lnTo>
                  <a:pt x="644" y="1739"/>
                </a:lnTo>
                <a:lnTo>
                  <a:pt x="590" y="1727"/>
                </a:lnTo>
                <a:lnTo>
                  <a:pt x="557" y="1721"/>
                </a:lnTo>
                <a:lnTo>
                  <a:pt x="485" y="1682"/>
                </a:lnTo>
                <a:lnTo>
                  <a:pt x="461" y="1640"/>
                </a:lnTo>
                <a:lnTo>
                  <a:pt x="431" y="1637"/>
                </a:lnTo>
                <a:lnTo>
                  <a:pt x="395" y="1646"/>
                </a:lnTo>
                <a:lnTo>
                  <a:pt x="338" y="1688"/>
                </a:lnTo>
                <a:lnTo>
                  <a:pt x="284" y="1703"/>
                </a:lnTo>
                <a:lnTo>
                  <a:pt x="224" y="1736"/>
                </a:lnTo>
                <a:lnTo>
                  <a:pt x="197" y="1736"/>
                </a:lnTo>
                <a:lnTo>
                  <a:pt x="152" y="1673"/>
                </a:lnTo>
                <a:lnTo>
                  <a:pt x="149" y="1646"/>
                </a:lnTo>
                <a:lnTo>
                  <a:pt x="164" y="1616"/>
                </a:lnTo>
                <a:lnTo>
                  <a:pt x="197" y="1574"/>
                </a:lnTo>
                <a:lnTo>
                  <a:pt x="197" y="1559"/>
                </a:lnTo>
                <a:lnTo>
                  <a:pt x="149" y="1538"/>
                </a:lnTo>
                <a:lnTo>
                  <a:pt x="107" y="1532"/>
                </a:lnTo>
                <a:lnTo>
                  <a:pt x="74" y="1532"/>
                </a:lnTo>
                <a:lnTo>
                  <a:pt x="56" y="1511"/>
                </a:lnTo>
                <a:lnTo>
                  <a:pt x="53" y="1460"/>
                </a:lnTo>
                <a:lnTo>
                  <a:pt x="71" y="1367"/>
                </a:lnTo>
                <a:lnTo>
                  <a:pt x="104" y="1355"/>
                </a:lnTo>
                <a:lnTo>
                  <a:pt x="125" y="1343"/>
                </a:lnTo>
                <a:lnTo>
                  <a:pt x="137" y="1373"/>
                </a:lnTo>
                <a:lnTo>
                  <a:pt x="197" y="1388"/>
                </a:lnTo>
                <a:lnTo>
                  <a:pt x="245" y="1379"/>
                </a:lnTo>
                <a:lnTo>
                  <a:pt x="251" y="1334"/>
                </a:lnTo>
                <a:lnTo>
                  <a:pt x="302" y="1301"/>
                </a:lnTo>
                <a:lnTo>
                  <a:pt x="344" y="1286"/>
                </a:lnTo>
                <a:lnTo>
                  <a:pt x="464" y="1238"/>
                </a:lnTo>
                <a:lnTo>
                  <a:pt x="470" y="1217"/>
                </a:lnTo>
                <a:lnTo>
                  <a:pt x="560" y="1154"/>
                </a:lnTo>
                <a:lnTo>
                  <a:pt x="575" y="1130"/>
                </a:lnTo>
                <a:lnTo>
                  <a:pt x="605" y="1151"/>
                </a:lnTo>
                <a:lnTo>
                  <a:pt x="629" y="1163"/>
                </a:lnTo>
                <a:lnTo>
                  <a:pt x="668" y="1139"/>
                </a:lnTo>
                <a:lnTo>
                  <a:pt x="674" y="1163"/>
                </a:lnTo>
                <a:lnTo>
                  <a:pt x="716" y="1181"/>
                </a:lnTo>
                <a:lnTo>
                  <a:pt x="704" y="1220"/>
                </a:lnTo>
                <a:lnTo>
                  <a:pt x="647" y="1283"/>
                </a:lnTo>
                <a:lnTo>
                  <a:pt x="593" y="1334"/>
                </a:lnTo>
                <a:lnTo>
                  <a:pt x="581" y="1370"/>
                </a:lnTo>
                <a:lnTo>
                  <a:pt x="593" y="1385"/>
                </a:lnTo>
                <a:lnTo>
                  <a:pt x="629" y="1385"/>
                </a:lnTo>
                <a:lnTo>
                  <a:pt x="599" y="1430"/>
                </a:lnTo>
                <a:lnTo>
                  <a:pt x="593" y="1460"/>
                </a:lnTo>
                <a:lnTo>
                  <a:pt x="566" y="1457"/>
                </a:lnTo>
                <a:lnTo>
                  <a:pt x="539" y="1475"/>
                </a:lnTo>
                <a:lnTo>
                  <a:pt x="536" y="1490"/>
                </a:lnTo>
                <a:lnTo>
                  <a:pt x="566" y="1490"/>
                </a:lnTo>
                <a:lnTo>
                  <a:pt x="611" y="1469"/>
                </a:lnTo>
                <a:lnTo>
                  <a:pt x="659" y="1442"/>
                </a:lnTo>
                <a:lnTo>
                  <a:pt x="725" y="1385"/>
                </a:lnTo>
                <a:lnTo>
                  <a:pt x="770" y="1385"/>
                </a:lnTo>
                <a:lnTo>
                  <a:pt x="845" y="1361"/>
                </a:lnTo>
                <a:lnTo>
                  <a:pt x="947" y="1361"/>
                </a:lnTo>
                <a:lnTo>
                  <a:pt x="995" y="1391"/>
                </a:lnTo>
                <a:lnTo>
                  <a:pt x="998" y="1412"/>
                </a:lnTo>
                <a:lnTo>
                  <a:pt x="1019" y="1394"/>
                </a:lnTo>
                <a:lnTo>
                  <a:pt x="1055" y="1427"/>
                </a:lnTo>
                <a:lnTo>
                  <a:pt x="1109" y="1424"/>
                </a:lnTo>
                <a:lnTo>
                  <a:pt x="1094" y="1469"/>
                </a:lnTo>
                <a:lnTo>
                  <a:pt x="1082" y="1505"/>
                </a:lnTo>
                <a:lnTo>
                  <a:pt x="1073" y="1535"/>
                </a:lnTo>
                <a:lnTo>
                  <a:pt x="1091" y="1565"/>
                </a:lnTo>
                <a:lnTo>
                  <a:pt x="1058" y="1580"/>
                </a:lnTo>
                <a:lnTo>
                  <a:pt x="1040" y="1595"/>
                </a:lnTo>
                <a:lnTo>
                  <a:pt x="1013" y="1583"/>
                </a:lnTo>
                <a:lnTo>
                  <a:pt x="1013" y="1625"/>
                </a:lnTo>
                <a:lnTo>
                  <a:pt x="986" y="1652"/>
                </a:lnTo>
                <a:lnTo>
                  <a:pt x="983" y="1670"/>
                </a:lnTo>
                <a:lnTo>
                  <a:pt x="1007" y="1673"/>
                </a:lnTo>
                <a:lnTo>
                  <a:pt x="1037" y="1667"/>
                </a:lnTo>
                <a:lnTo>
                  <a:pt x="1025" y="1694"/>
                </a:lnTo>
                <a:lnTo>
                  <a:pt x="1037" y="1709"/>
                </a:lnTo>
                <a:lnTo>
                  <a:pt x="1055" y="1712"/>
                </a:lnTo>
                <a:lnTo>
                  <a:pt x="1058" y="1727"/>
                </a:lnTo>
                <a:lnTo>
                  <a:pt x="1094" y="1703"/>
                </a:lnTo>
                <a:lnTo>
                  <a:pt x="1100" y="1676"/>
                </a:lnTo>
                <a:lnTo>
                  <a:pt x="1148" y="1730"/>
                </a:lnTo>
                <a:lnTo>
                  <a:pt x="1214" y="1736"/>
                </a:lnTo>
                <a:lnTo>
                  <a:pt x="1220" y="1754"/>
                </a:lnTo>
                <a:lnTo>
                  <a:pt x="1223" y="1781"/>
                </a:lnTo>
                <a:lnTo>
                  <a:pt x="1244" y="1838"/>
                </a:lnTo>
                <a:lnTo>
                  <a:pt x="1244" y="1856"/>
                </a:lnTo>
                <a:lnTo>
                  <a:pt x="1259" y="1898"/>
                </a:lnTo>
                <a:lnTo>
                  <a:pt x="1226" y="1883"/>
                </a:lnTo>
                <a:lnTo>
                  <a:pt x="1190" y="1883"/>
                </a:lnTo>
                <a:lnTo>
                  <a:pt x="1160" y="1898"/>
                </a:lnTo>
                <a:lnTo>
                  <a:pt x="1184" y="1928"/>
                </a:lnTo>
                <a:lnTo>
                  <a:pt x="1208" y="1931"/>
                </a:lnTo>
                <a:lnTo>
                  <a:pt x="1205" y="1949"/>
                </a:lnTo>
                <a:lnTo>
                  <a:pt x="1196" y="1982"/>
                </a:lnTo>
                <a:lnTo>
                  <a:pt x="1211" y="2039"/>
                </a:lnTo>
                <a:lnTo>
                  <a:pt x="1217" y="2072"/>
                </a:lnTo>
                <a:lnTo>
                  <a:pt x="1205" y="2105"/>
                </a:lnTo>
                <a:lnTo>
                  <a:pt x="1184" y="2150"/>
                </a:lnTo>
                <a:lnTo>
                  <a:pt x="1169" y="2210"/>
                </a:lnTo>
                <a:lnTo>
                  <a:pt x="1166" y="2246"/>
                </a:lnTo>
                <a:lnTo>
                  <a:pt x="1193" y="2255"/>
                </a:lnTo>
                <a:lnTo>
                  <a:pt x="1184" y="2285"/>
                </a:lnTo>
                <a:lnTo>
                  <a:pt x="1169" y="2270"/>
                </a:lnTo>
                <a:lnTo>
                  <a:pt x="1154" y="2261"/>
                </a:lnTo>
                <a:lnTo>
                  <a:pt x="1163" y="2306"/>
                </a:lnTo>
                <a:lnTo>
                  <a:pt x="1142" y="2312"/>
                </a:lnTo>
                <a:lnTo>
                  <a:pt x="1148" y="2333"/>
                </a:lnTo>
                <a:lnTo>
                  <a:pt x="1181" y="2306"/>
                </a:lnTo>
                <a:lnTo>
                  <a:pt x="1193" y="2318"/>
                </a:lnTo>
                <a:lnTo>
                  <a:pt x="1211" y="2297"/>
                </a:lnTo>
                <a:lnTo>
                  <a:pt x="1232" y="2309"/>
                </a:lnTo>
                <a:lnTo>
                  <a:pt x="1280" y="2267"/>
                </a:lnTo>
                <a:lnTo>
                  <a:pt x="1298" y="2258"/>
                </a:lnTo>
                <a:lnTo>
                  <a:pt x="1283" y="2294"/>
                </a:lnTo>
                <a:lnTo>
                  <a:pt x="1295" y="2306"/>
                </a:lnTo>
                <a:lnTo>
                  <a:pt x="1310" y="2297"/>
                </a:lnTo>
                <a:lnTo>
                  <a:pt x="1316" y="2267"/>
                </a:lnTo>
                <a:lnTo>
                  <a:pt x="1328" y="2279"/>
                </a:lnTo>
                <a:lnTo>
                  <a:pt x="1340" y="2270"/>
                </a:lnTo>
                <a:lnTo>
                  <a:pt x="1331" y="2249"/>
                </a:lnTo>
                <a:lnTo>
                  <a:pt x="1355" y="2240"/>
                </a:lnTo>
                <a:lnTo>
                  <a:pt x="1361" y="2261"/>
                </a:lnTo>
                <a:lnTo>
                  <a:pt x="1382" y="2276"/>
                </a:lnTo>
                <a:lnTo>
                  <a:pt x="1394" y="2270"/>
                </a:lnTo>
                <a:lnTo>
                  <a:pt x="1379" y="2243"/>
                </a:lnTo>
                <a:lnTo>
                  <a:pt x="1367" y="2228"/>
                </a:lnTo>
                <a:lnTo>
                  <a:pt x="1415" y="2234"/>
                </a:lnTo>
                <a:lnTo>
                  <a:pt x="1448" y="2249"/>
                </a:lnTo>
                <a:lnTo>
                  <a:pt x="1451" y="2204"/>
                </a:lnTo>
                <a:lnTo>
                  <a:pt x="1547" y="2228"/>
                </a:lnTo>
                <a:lnTo>
                  <a:pt x="1598" y="2141"/>
                </a:lnTo>
                <a:lnTo>
                  <a:pt x="1616" y="2060"/>
                </a:lnTo>
                <a:lnTo>
                  <a:pt x="1598" y="2048"/>
                </a:lnTo>
                <a:lnTo>
                  <a:pt x="1595" y="2027"/>
                </a:lnTo>
                <a:lnTo>
                  <a:pt x="1601" y="1967"/>
                </a:lnTo>
                <a:lnTo>
                  <a:pt x="1607" y="1898"/>
                </a:lnTo>
                <a:lnTo>
                  <a:pt x="1595" y="1832"/>
                </a:lnTo>
                <a:lnTo>
                  <a:pt x="1571" y="1802"/>
                </a:lnTo>
                <a:lnTo>
                  <a:pt x="1541" y="1748"/>
                </a:lnTo>
                <a:lnTo>
                  <a:pt x="1490" y="1616"/>
                </a:lnTo>
                <a:lnTo>
                  <a:pt x="1454" y="1577"/>
                </a:lnTo>
                <a:lnTo>
                  <a:pt x="1433" y="1544"/>
                </a:lnTo>
                <a:lnTo>
                  <a:pt x="1400" y="1544"/>
                </a:lnTo>
                <a:lnTo>
                  <a:pt x="1388" y="1508"/>
                </a:lnTo>
                <a:lnTo>
                  <a:pt x="1397" y="1496"/>
                </a:lnTo>
                <a:lnTo>
                  <a:pt x="1394" y="1460"/>
                </a:lnTo>
                <a:lnTo>
                  <a:pt x="1391" y="1406"/>
                </a:lnTo>
                <a:lnTo>
                  <a:pt x="1421" y="1391"/>
                </a:lnTo>
                <a:lnTo>
                  <a:pt x="1445" y="1370"/>
                </a:lnTo>
                <a:lnTo>
                  <a:pt x="1505" y="1370"/>
                </a:lnTo>
                <a:lnTo>
                  <a:pt x="1562" y="1316"/>
                </a:lnTo>
                <a:lnTo>
                  <a:pt x="1604" y="1304"/>
                </a:lnTo>
                <a:lnTo>
                  <a:pt x="1658" y="1256"/>
                </a:lnTo>
                <a:lnTo>
                  <a:pt x="1682" y="1247"/>
                </a:lnTo>
                <a:lnTo>
                  <a:pt x="1691" y="1166"/>
                </a:lnTo>
                <a:lnTo>
                  <a:pt x="1694" y="1142"/>
                </a:lnTo>
                <a:lnTo>
                  <a:pt x="1679" y="1121"/>
                </a:lnTo>
                <a:lnTo>
                  <a:pt x="1682" y="1097"/>
                </a:lnTo>
                <a:lnTo>
                  <a:pt x="1727" y="1073"/>
                </a:lnTo>
                <a:lnTo>
                  <a:pt x="1781" y="1025"/>
                </a:lnTo>
                <a:lnTo>
                  <a:pt x="1805" y="1028"/>
                </a:lnTo>
                <a:lnTo>
                  <a:pt x="1829" y="1004"/>
                </a:lnTo>
                <a:lnTo>
                  <a:pt x="1832" y="974"/>
                </a:lnTo>
                <a:lnTo>
                  <a:pt x="1862" y="974"/>
                </a:lnTo>
                <a:lnTo>
                  <a:pt x="1901" y="953"/>
                </a:lnTo>
                <a:lnTo>
                  <a:pt x="1940" y="899"/>
                </a:lnTo>
                <a:lnTo>
                  <a:pt x="1991" y="842"/>
                </a:lnTo>
                <a:lnTo>
                  <a:pt x="1976" y="893"/>
                </a:lnTo>
                <a:lnTo>
                  <a:pt x="1988" y="905"/>
                </a:lnTo>
                <a:lnTo>
                  <a:pt x="2021" y="851"/>
                </a:lnTo>
                <a:lnTo>
                  <a:pt x="2036" y="863"/>
                </a:lnTo>
                <a:lnTo>
                  <a:pt x="2036" y="899"/>
                </a:lnTo>
                <a:lnTo>
                  <a:pt x="2036" y="926"/>
                </a:lnTo>
                <a:lnTo>
                  <a:pt x="2075" y="926"/>
                </a:lnTo>
                <a:lnTo>
                  <a:pt x="2129" y="941"/>
                </a:lnTo>
                <a:lnTo>
                  <a:pt x="2198" y="932"/>
                </a:lnTo>
                <a:lnTo>
                  <a:pt x="2267" y="911"/>
                </a:lnTo>
                <a:lnTo>
                  <a:pt x="2315" y="869"/>
                </a:lnTo>
                <a:lnTo>
                  <a:pt x="2390" y="818"/>
                </a:lnTo>
                <a:lnTo>
                  <a:pt x="2438" y="770"/>
                </a:lnTo>
                <a:lnTo>
                  <a:pt x="2480" y="698"/>
                </a:lnTo>
                <a:lnTo>
                  <a:pt x="2534" y="647"/>
                </a:lnTo>
                <a:lnTo>
                  <a:pt x="2552" y="617"/>
                </a:lnTo>
                <a:lnTo>
                  <a:pt x="2573" y="575"/>
                </a:lnTo>
                <a:lnTo>
                  <a:pt x="2597" y="536"/>
                </a:lnTo>
                <a:lnTo>
                  <a:pt x="2741" y="383"/>
                </a:lnTo>
                <a:lnTo>
                  <a:pt x="2768" y="347"/>
                </a:lnTo>
                <a:lnTo>
                  <a:pt x="2774" y="320"/>
                </a:lnTo>
                <a:lnTo>
                  <a:pt x="2789" y="236"/>
                </a:lnTo>
                <a:lnTo>
                  <a:pt x="2807" y="209"/>
                </a:lnTo>
                <a:lnTo>
                  <a:pt x="2840" y="176"/>
                </a:lnTo>
                <a:lnTo>
                  <a:pt x="2855" y="155"/>
                </a:lnTo>
                <a:lnTo>
                  <a:pt x="2855" y="128"/>
                </a:lnTo>
                <a:lnTo>
                  <a:pt x="2864" y="101"/>
                </a:lnTo>
                <a:lnTo>
                  <a:pt x="2934" y="0"/>
                </a:lnTo>
                <a:close/>
              </a:path>
            </a:pathLst>
          </a:custGeom>
          <a:solidFill>
            <a:schemeClr val="bg2">
              <a:lumMod val="65000"/>
            </a:schemeClr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latinLnBrk="0">
              <a:defRPr/>
            </a:pPr>
            <a:endParaRPr kumimoji="0" lang="ko-KR" altLang="en-US" dirty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112644" name="직사각형 6"/>
          <p:cNvSpPr>
            <a:spLocks noChangeArrowheads="1"/>
          </p:cNvSpPr>
          <p:nvPr/>
        </p:nvSpPr>
        <p:spPr bwMode="auto">
          <a:xfrm>
            <a:off x="7308850" y="6308725"/>
            <a:ext cx="1746250" cy="396875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/>
          <a:lstStyle/>
          <a:p>
            <a:pPr latinLnBrk="0"/>
            <a:endParaRPr kumimoji="0" lang="en-US" altLang="ko-KR" sz="1400"/>
          </a:p>
        </p:txBody>
      </p:sp>
      <p:sp>
        <p:nvSpPr>
          <p:cNvPr id="112645" name="직사각형 7"/>
          <p:cNvSpPr>
            <a:spLocks noChangeArrowheads="1"/>
          </p:cNvSpPr>
          <p:nvPr/>
        </p:nvSpPr>
        <p:spPr bwMode="auto">
          <a:xfrm>
            <a:off x="323850" y="6237288"/>
            <a:ext cx="1746250" cy="396875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/>
          <a:lstStyle/>
          <a:p>
            <a:pPr latinLnBrk="0"/>
            <a:endParaRPr kumimoji="0" lang="en-US" altLang="ko-KR" sz="1400"/>
          </a:p>
        </p:txBody>
      </p:sp>
      <p:sp>
        <p:nvSpPr>
          <p:cNvPr id="112646" name="Rectangle 8"/>
          <p:cNvSpPr>
            <a:spLocks noChangeArrowheads="1"/>
          </p:cNvSpPr>
          <p:nvPr/>
        </p:nvSpPr>
        <p:spPr bwMode="auto">
          <a:xfrm>
            <a:off x="3779838" y="1844675"/>
            <a:ext cx="536416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kumimoji="0" lang="en-US" altLang="ko-KR" sz="2400" b="1"/>
              <a:t>1. Status of Ostomates in Korea</a:t>
            </a:r>
            <a:endParaRPr kumimoji="0" lang="ko-KR" altLang="en-US" sz="2400" b="1"/>
          </a:p>
        </p:txBody>
      </p:sp>
      <p:sp>
        <p:nvSpPr>
          <p:cNvPr id="112647" name="Rectangle 9"/>
          <p:cNvSpPr>
            <a:spLocks noChangeArrowheads="1"/>
          </p:cNvSpPr>
          <p:nvPr/>
        </p:nvSpPr>
        <p:spPr bwMode="auto">
          <a:xfrm>
            <a:off x="3995738" y="2133600"/>
            <a:ext cx="3024187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latinLnBrk="0">
              <a:lnSpc>
                <a:spcPct val="160000"/>
              </a:lnSpc>
              <a:spcBef>
                <a:spcPct val="30000"/>
              </a:spcBef>
            </a:pPr>
            <a:r>
              <a:rPr kumimoji="0" lang="en-US" altLang="ko-KR" sz="2400" b="1"/>
              <a:t>1-1 About Korea</a:t>
            </a:r>
          </a:p>
        </p:txBody>
      </p:sp>
      <p:sp>
        <p:nvSpPr>
          <p:cNvPr id="112648" name="내용 개체 틀 2"/>
          <p:cNvSpPr>
            <a:spLocks/>
          </p:cNvSpPr>
          <p:nvPr/>
        </p:nvSpPr>
        <p:spPr bwMode="auto">
          <a:xfrm>
            <a:off x="4211638" y="2781300"/>
            <a:ext cx="4897437" cy="3743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76213" indent="-176213" latinLnBrk="0">
              <a:spcBef>
                <a:spcPct val="30000"/>
              </a:spcBef>
              <a:buFontTx/>
              <a:buChar char="•"/>
              <a:tabLst>
                <a:tab pos="176213" algn="l"/>
              </a:tabLst>
            </a:pPr>
            <a:r>
              <a:rPr kumimoji="0" lang="da-DK" altLang="ko-KR" dirty="0">
                <a:latin typeface="맑은 고딕"/>
                <a:ea typeface="맑은 고딕"/>
                <a:cs typeface="맑은 고딕"/>
              </a:rPr>
              <a:t>50 Million population in South</a:t>
            </a:r>
          </a:p>
          <a:p>
            <a:pPr marL="176213" indent="-176213" latinLnBrk="0">
              <a:spcBef>
                <a:spcPct val="30000"/>
              </a:spcBef>
              <a:buFontTx/>
              <a:buChar char="•"/>
              <a:tabLst>
                <a:tab pos="176213" algn="l"/>
              </a:tabLst>
            </a:pPr>
            <a:r>
              <a:rPr kumimoji="0" lang="da-DK" altLang="ko-KR" dirty="0">
                <a:latin typeface="맑은 고딕"/>
                <a:ea typeface="맑은 고딕"/>
                <a:cs typeface="맑은 고딕"/>
              </a:rPr>
              <a:t>GNI 20,759 $ </a:t>
            </a:r>
            <a:r>
              <a:rPr kumimoji="0" lang="da-DK" altLang="ko-KR" i="1" dirty="0">
                <a:latin typeface="맑은 고딕"/>
                <a:ea typeface="맑은 고딕"/>
                <a:cs typeface="맑은 고딕"/>
              </a:rPr>
              <a:t>(source from Korea bank)</a:t>
            </a:r>
            <a:endParaRPr kumimoji="0" lang="da-DK" altLang="ko-KR" dirty="0">
              <a:latin typeface="맑은 고딕"/>
              <a:ea typeface="맑은 고딕"/>
              <a:cs typeface="맑은 고딕"/>
            </a:endParaRPr>
          </a:p>
          <a:p>
            <a:pPr marL="176213" indent="-176213" latinLnBrk="0">
              <a:spcBef>
                <a:spcPct val="30000"/>
              </a:spcBef>
              <a:buFontTx/>
              <a:buChar char="•"/>
              <a:tabLst>
                <a:tab pos="176213" algn="l"/>
              </a:tabLst>
            </a:pPr>
            <a:r>
              <a:rPr kumimoji="0" lang="da-DK" altLang="ko-KR" dirty="0">
                <a:latin typeface="맑은 고딕"/>
                <a:ea typeface="맑은 고딕"/>
                <a:cs typeface="맑은 고딕"/>
              </a:rPr>
              <a:t>OECD, G20</a:t>
            </a:r>
          </a:p>
          <a:p>
            <a:pPr marL="176213" indent="-176213" latinLnBrk="0">
              <a:lnSpc>
                <a:spcPct val="150000"/>
              </a:lnSpc>
              <a:spcBef>
                <a:spcPct val="30000"/>
              </a:spcBef>
              <a:buFontTx/>
              <a:buChar char="•"/>
              <a:tabLst>
                <a:tab pos="176213" algn="l"/>
              </a:tabLst>
            </a:pPr>
            <a:r>
              <a:rPr kumimoji="0" lang="da-DK" altLang="ko-KR" dirty="0">
                <a:latin typeface="맑은 고딕"/>
                <a:ea typeface="맑은 고딕"/>
                <a:cs typeface="맑은 고딕"/>
              </a:rPr>
              <a:t>Life expectency : 80.5 Age, expect over 65 Ages in 2018, 14.3%</a:t>
            </a:r>
            <a:endParaRPr kumimoji="0" lang="da-DK" altLang="ko-KR" u="sng" dirty="0">
              <a:latin typeface="맑은 고딕"/>
              <a:ea typeface="맑은 고딕"/>
              <a:cs typeface="맑은 고딕"/>
            </a:endParaRPr>
          </a:p>
          <a:p>
            <a:pPr marL="176213" indent="-176213" latinLnBrk="0">
              <a:spcBef>
                <a:spcPct val="30000"/>
              </a:spcBef>
              <a:buFontTx/>
              <a:buChar char="•"/>
              <a:tabLst>
                <a:tab pos="176213" algn="l"/>
              </a:tabLst>
            </a:pPr>
            <a:r>
              <a:rPr kumimoji="0" lang="da-DK" altLang="ko-KR" dirty="0">
                <a:latin typeface="맑은 고딕"/>
                <a:ea typeface="맑은 고딕"/>
                <a:cs typeface="맑은 고딕"/>
              </a:rPr>
              <a:t>Registered Ostomates : </a:t>
            </a:r>
            <a:r>
              <a:rPr kumimoji="0" lang="da-DK" altLang="ko-KR" dirty="0" smtClean="0">
                <a:latin typeface="맑은 고딕"/>
                <a:ea typeface="맑은 고딕"/>
                <a:cs typeface="맑은 고딕"/>
              </a:rPr>
              <a:t>14,000 </a:t>
            </a:r>
            <a:r>
              <a:rPr kumimoji="0" lang="da-DK" altLang="ko-KR" sz="1600" dirty="0">
                <a:latin typeface="맑은 고딕"/>
                <a:ea typeface="맑은 고딕"/>
                <a:cs typeface="맑은 고딕"/>
              </a:rPr>
              <a:t>(</a:t>
            </a:r>
            <a:r>
              <a:rPr kumimoji="0" lang="da-DK" altLang="ko-KR" sz="1600" dirty="0" smtClean="0">
                <a:latin typeface="맑은 고딕"/>
                <a:ea typeface="맑은 고딕"/>
                <a:cs typeface="맑은 고딕"/>
              </a:rPr>
              <a:t>2015)</a:t>
            </a:r>
            <a:endParaRPr kumimoji="0" lang="da-DK" altLang="ko-KR" dirty="0">
              <a:latin typeface="맑은 고딕"/>
              <a:ea typeface="맑은 고딕"/>
              <a:cs typeface="맑은 고딕"/>
            </a:endParaRPr>
          </a:p>
          <a:p>
            <a:pPr marL="176213" indent="-176213" latinLnBrk="0">
              <a:spcBef>
                <a:spcPct val="30000"/>
              </a:spcBef>
              <a:buFontTx/>
              <a:buChar char="•"/>
              <a:tabLst>
                <a:tab pos="176213" algn="l"/>
              </a:tabLst>
            </a:pPr>
            <a:r>
              <a:rPr kumimoji="0" lang="da-DK" altLang="ko-KR" dirty="0">
                <a:latin typeface="맑은 고딕"/>
                <a:ea typeface="맑은 고딕"/>
                <a:cs typeface="맑은 고딕"/>
              </a:rPr>
              <a:t>National health insurance reimbursement system</a:t>
            </a:r>
          </a:p>
          <a:p>
            <a:pPr marL="176213" indent="-176213" latinLnBrk="0">
              <a:spcBef>
                <a:spcPct val="30000"/>
              </a:spcBef>
              <a:tabLst>
                <a:tab pos="176213" algn="l"/>
              </a:tabLst>
            </a:pPr>
            <a:r>
              <a:rPr kumimoji="0" lang="da-DK" altLang="ko-KR" i="1" dirty="0">
                <a:latin typeface="맑은 고딕"/>
                <a:ea typeface="맑은 고딕"/>
                <a:cs typeface="맑은 고딕"/>
              </a:rPr>
              <a:t>  (source from KOSIS)</a:t>
            </a:r>
          </a:p>
          <a:p>
            <a:pPr marL="176213" indent="-176213" latinLnBrk="0">
              <a:spcBef>
                <a:spcPct val="30000"/>
              </a:spcBef>
              <a:buFontTx/>
              <a:buChar char="•"/>
              <a:tabLst>
                <a:tab pos="176213" algn="l"/>
              </a:tabLst>
            </a:pPr>
            <a:r>
              <a:rPr kumimoji="0" lang="en-US" altLang="ko-KR" dirty="0">
                <a:latin typeface="맑은 고딕"/>
                <a:ea typeface="맑은 고딕"/>
                <a:cs typeface="맑은 고딕"/>
              </a:rPr>
              <a:t>KOA member </a:t>
            </a:r>
            <a:r>
              <a:rPr kumimoji="0" lang="en-US" altLang="ko-KR" i="1" dirty="0">
                <a:latin typeface="맑은 고딕"/>
                <a:ea typeface="맑은 고딕"/>
                <a:cs typeface="맑은 고딕"/>
              </a:rPr>
              <a:t>: 1,000</a:t>
            </a:r>
            <a:endParaRPr kumimoji="0" lang="da-DK" altLang="ko-KR" dirty="0">
              <a:latin typeface="맑은 고딕"/>
              <a:ea typeface="맑은 고딕"/>
              <a:cs typeface="맑은 고딕"/>
            </a:endParaRPr>
          </a:p>
        </p:txBody>
      </p:sp>
      <p:sp>
        <p:nvSpPr>
          <p:cNvPr id="112649" name="Rectangle 9"/>
          <p:cNvSpPr>
            <a:spLocks noChangeArrowheads="1"/>
          </p:cNvSpPr>
          <p:nvPr/>
        </p:nvSpPr>
        <p:spPr bwMode="auto">
          <a:xfrm>
            <a:off x="3995738" y="2133600"/>
            <a:ext cx="3024187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latinLnBrk="0">
              <a:lnSpc>
                <a:spcPct val="160000"/>
              </a:lnSpc>
              <a:spcBef>
                <a:spcPct val="30000"/>
              </a:spcBef>
            </a:pPr>
            <a:r>
              <a:rPr kumimoji="0" lang="en-US" altLang="ko-KR" sz="2400" b="1"/>
              <a:t>1-1 About Korea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65" name="제목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en-US" altLang="ko-KR" b="1" smtClean="0">
                <a:latin typeface="맑은 고딕"/>
                <a:ea typeface="맑은 고딕"/>
                <a:cs typeface="맑은 고딕"/>
              </a:rPr>
              <a:t>1-2 Registered Ostomates</a:t>
            </a:r>
          </a:p>
        </p:txBody>
      </p:sp>
      <p:sp>
        <p:nvSpPr>
          <p:cNvPr id="113666" name="슬라이드 번호 개체 틀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r>
              <a:rPr lang="en-GB" altLang="ko-KR" smtClean="0">
                <a:ea typeface="굴림" charset="-127"/>
              </a:rPr>
              <a:t>Page </a:t>
            </a:r>
            <a:fld id="{617DDA5B-8403-4B8D-8461-99ABAF703765}" type="slidenum">
              <a:rPr lang="en-GB" altLang="ko-KR" smtClean="0">
                <a:ea typeface="굴림" charset="-127"/>
              </a:rPr>
              <a:pPr/>
              <a:t>4</a:t>
            </a:fld>
            <a:endParaRPr lang="en-GB" altLang="ko-KR" smtClean="0">
              <a:ea typeface="굴림" charset="-127"/>
            </a:endParaRPr>
          </a:p>
        </p:txBody>
      </p:sp>
      <p:sp>
        <p:nvSpPr>
          <p:cNvPr id="113668" name="직사각형 5"/>
          <p:cNvSpPr>
            <a:spLocks noChangeArrowheads="1"/>
          </p:cNvSpPr>
          <p:nvPr/>
        </p:nvSpPr>
        <p:spPr bwMode="auto">
          <a:xfrm>
            <a:off x="2916238" y="6165850"/>
            <a:ext cx="2006600" cy="3905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72000" tIns="72000" rIns="72000" bIns="72000">
            <a:spAutoFit/>
          </a:bodyPr>
          <a:lstStyle/>
          <a:p>
            <a:pPr latinLnBrk="0"/>
            <a:r>
              <a:rPr kumimoji="0" lang="en-US" altLang="ko-KR" sz="1600" dirty="0">
                <a:solidFill>
                  <a:schemeClr val="bg2"/>
                </a:solidFill>
              </a:rPr>
              <a:t>Source from KOSIS </a:t>
            </a:r>
          </a:p>
        </p:txBody>
      </p:sp>
      <p:sp>
        <p:nvSpPr>
          <p:cNvPr id="113672" name="직사각형 9"/>
          <p:cNvSpPr>
            <a:spLocks noChangeArrowheads="1"/>
          </p:cNvSpPr>
          <p:nvPr/>
        </p:nvSpPr>
        <p:spPr bwMode="auto">
          <a:xfrm>
            <a:off x="7308850" y="6308725"/>
            <a:ext cx="1746250" cy="396875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/>
          <a:lstStyle/>
          <a:p>
            <a:pPr latinLnBrk="0"/>
            <a:endParaRPr kumimoji="0" lang="en-US" altLang="ko-KR" sz="1400"/>
          </a:p>
        </p:txBody>
      </p:sp>
      <p:sp>
        <p:nvSpPr>
          <p:cNvPr id="113673" name="직사각형 10"/>
          <p:cNvSpPr>
            <a:spLocks noChangeArrowheads="1"/>
          </p:cNvSpPr>
          <p:nvPr/>
        </p:nvSpPr>
        <p:spPr bwMode="auto">
          <a:xfrm>
            <a:off x="0" y="6237288"/>
            <a:ext cx="1746250" cy="396875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/>
          <a:lstStyle/>
          <a:p>
            <a:pPr latinLnBrk="0"/>
            <a:endParaRPr kumimoji="0" lang="en-US" altLang="ko-KR" sz="1400"/>
          </a:p>
        </p:txBody>
      </p:sp>
      <p:graphicFrame>
        <p:nvGraphicFramePr>
          <p:cNvPr id="4" name="차트 3"/>
          <p:cNvGraphicFramePr/>
          <p:nvPr>
            <p:extLst>
              <p:ext uri="{D42A27DB-BD31-4B8C-83A1-F6EECF244321}">
                <p14:modId xmlns:p14="http://schemas.microsoft.com/office/powerpoint/2010/main" val="676136474"/>
              </p:ext>
            </p:extLst>
          </p:nvPr>
        </p:nvGraphicFramePr>
        <p:xfrm>
          <a:off x="883266" y="1340768"/>
          <a:ext cx="7393959" cy="44644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4" name="타원 13"/>
          <p:cNvSpPr/>
          <p:nvPr/>
        </p:nvSpPr>
        <p:spPr bwMode="auto">
          <a:xfrm>
            <a:off x="2843808" y="2780928"/>
            <a:ext cx="698376" cy="432048"/>
          </a:xfrm>
          <a:prstGeom prst="ellipse">
            <a:avLst/>
          </a:prstGeom>
          <a:solidFill>
            <a:schemeClr val="tx2">
              <a:lumMod val="50000"/>
            </a:schemeClr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400" dirty="0" smtClean="0">
                <a:solidFill>
                  <a:schemeClr val="bg1"/>
                </a:solidFill>
              </a:rPr>
              <a:t>5%</a:t>
            </a:r>
            <a:endParaRPr lang="ko-KR" sz="1400" dirty="0">
              <a:solidFill>
                <a:schemeClr val="bg1"/>
              </a:solidFill>
            </a:endParaRPr>
          </a:p>
        </p:txBody>
      </p:sp>
      <p:sp>
        <p:nvSpPr>
          <p:cNvPr id="15" name="타원 14"/>
          <p:cNvSpPr/>
          <p:nvPr/>
        </p:nvSpPr>
        <p:spPr bwMode="auto">
          <a:xfrm>
            <a:off x="3707904" y="2583525"/>
            <a:ext cx="698376" cy="432048"/>
          </a:xfrm>
          <a:prstGeom prst="ellipse">
            <a:avLst/>
          </a:prstGeom>
          <a:solidFill>
            <a:schemeClr val="tx2">
              <a:lumMod val="50000"/>
            </a:schemeClr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400" dirty="0" smtClean="0">
                <a:solidFill>
                  <a:schemeClr val="bg1"/>
                </a:solidFill>
              </a:rPr>
              <a:t>0%</a:t>
            </a:r>
            <a:endParaRPr lang="ko-KR" sz="1400" dirty="0">
              <a:solidFill>
                <a:schemeClr val="bg1"/>
              </a:solidFill>
            </a:endParaRPr>
          </a:p>
        </p:txBody>
      </p:sp>
      <p:sp>
        <p:nvSpPr>
          <p:cNvPr id="16" name="타원 15"/>
          <p:cNvSpPr/>
          <p:nvPr/>
        </p:nvSpPr>
        <p:spPr bwMode="auto">
          <a:xfrm>
            <a:off x="4446773" y="2492896"/>
            <a:ext cx="698376" cy="432048"/>
          </a:xfrm>
          <a:prstGeom prst="ellipse">
            <a:avLst/>
          </a:prstGeom>
          <a:solidFill>
            <a:schemeClr val="tx2">
              <a:lumMod val="50000"/>
            </a:schemeClr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400" dirty="0">
                <a:solidFill>
                  <a:schemeClr val="bg1"/>
                </a:solidFill>
              </a:rPr>
              <a:t>2</a:t>
            </a:r>
            <a:r>
              <a:rPr lang="en-US" altLang="ko-KR" sz="1400" dirty="0" smtClean="0">
                <a:solidFill>
                  <a:schemeClr val="bg1"/>
                </a:solidFill>
              </a:rPr>
              <a:t>%</a:t>
            </a:r>
            <a:endParaRPr lang="ko-KR" sz="1400" dirty="0">
              <a:solidFill>
                <a:schemeClr val="bg1"/>
              </a:solidFill>
            </a:endParaRPr>
          </a:p>
        </p:txBody>
      </p:sp>
      <p:sp>
        <p:nvSpPr>
          <p:cNvPr id="17" name="타원 16"/>
          <p:cNvSpPr/>
          <p:nvPr/>
        </p:nvSpPr>
        <p:spPr bwMode="auto">
          <a:xfrm>
            <a:off x="5145149" y="2326682"/>
            <a:ext cx="698376" cy="432048"/>
          </a:xfrm>
          <a:prstGeom prst="ellipse">
            <a:avLst/>
          </a:prstGeom>
          <a:solidFill>
            <a:schemeClr val="tx2">
              <a:lumMod val="50000"/>
            </a:schemeClr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400" dirty="0" smtClean="0">
                <a:solidFill>
                  <a:schemeClr val="bg1"/>
                </a:solidFill>
              </a:rPr>
              <a:t>1%</a:t>
            </a:r>
            <a:endParaRPr lang="ko-KR" sz="1400" dirty="0">
              <a:solidFill>
                <a:schemeClr val="bg1"/>
              </a:solidFill>
            </a:endParaRPr>
          </a:p>
        </p:txBody>
      </p:sp>
      <p:sp>
        <p:nvSpPr>
          <p:cNvPr id="18" name="타원 17"/>
          <p:cNvSpPr/>
          <p:nvPr/>
        </p:nvSpPr>
        <p:spPr bwMode="auto">
          <a:xfrm>
            <a:off x="5885631" y="2100746"/>
            <a:ext cx="698376" cy="432048"/>
          </a:xfrm>
          <a:prstGeom prst="ellipse">
            <a:avLst/>
          </a:prstGeom>
          <a:solidFill>
            <a:schemeClr val="tx2">
              <a:lumMod val="50000"/>
            </a:schemeClr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400" dirty="0">
                <a:solidFill>
                  <a:schemeClr val="bg1"/>
                </a:solidFill>
              </a:rPr>
              <a:t>2</a:t>
            </a:r>
            <a:r>
              <a:rPr lang="en-US" altLang="ko-KR" sz="1400" dirty="0" smtClean="0">
                <a:solidFill>
                  <a:schemeClr val="bg1"/>
                </a:solidFill>
              </a:rPr>
              <a:t>%</a:t>
            </a:r>
            <a:endParaRPr lang="ko-KR" sz="1400" dirty="0">
              <a:solidFill>
                <a:schemeClr val="bg1"/>
              </a:solidFill>
            </a:endParaRPr>
          </a:p>
        </p:txBody>
      </p:sp>
      <p:sp>
        <p:nvSpPr>
          <p:cNvPr id="19" name="타원 18"/>
          <p:cNvSpPr/>
          <p:nvPr/>
        </p:nvSpPr>
        <p:spPr bwMode="auto">
          <a:xfrm>
            <a:off x="6732240" y="1934553"/>
            <a:ext cx="698376" cy="432048"/>
          </a:xfrm>
          <a:prstGeom prst="ellipse">
            <a:avLst/>
          </a:prstGeom>
          <a:solidFill>
            <a:schemeClr val="tx2">
              <a:lumMod val="50000"/>
            </a:schemeClr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400" dirty="0">
                <a:solidFill>
                  <a:schemeClr val="bg1"/>
                </a:solidFill>
              </a:rPr>
              <a:t>2</a:t>
            </a:r>
            <a:r>
              <a:rPr lang="en-US" altLang="ko-KR" sz="1400" dirty="0" smtClean="0">
                <a:solidFill>
                  <a:schemeClr val="bg1"/>
                </a:solidFill>
              </a:rPr>
              <a:t>%</a:t>
            </a:r>
            <a:endParaRPr lang="ko-KR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01025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2E6196-7EDC-48DE-8D4C-1C9CDD729EFC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86667466-9974-4AD5-98D7-45EA92829654}" type="datetime4">
              <a:rPr lang="en-GB" smtClean="0"/>
              <a:pPr>
                <a:defRPr/>
              </a:pPr>
              <a:t>20 March 2017</a:t>
            </a:fld>
            <a:endParaRPr lang="en-US" dirty="0"/>
          </a:p>
        </p:txBody>
      </p:sp>
      <p:sp>
        <p:nvSpPr>
          <p:cNvPr id="4" name="Title 7"/>
          <p:cNvSpPr txBox="1">
            <a:spLocks/>
          </p:cNvSpPr>
          <p:nvPr/>
        </p:nvSpPr>
        <p:spPr bwMode="auto">
          <a:xfrm>
            <a:off x="863600" y="898525"/>
            <a:ext cx="7413625" cy="801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latinLnBrk="0" hangingPunct="1"/>
            <a:r>
              <a:rPr kumimoji="0" lang="en-US" altLang="ko-KR" b="1" kern="0" smtClean="0">
                <a:latin typeface="맑은 고딕"/>
                <a:ea typeface="맑은 고딕"/>
                <a:cs typeface="맑은 고딕"/>
              </a:rPr>
              <a:t>1-3 Average Age of Ostomates</a:t>
            </a:r>
            <a:endParaRPr kumimoji="0" lang="en-GB" altLang="ko-KR" b="1" kern="0" dirty="0" smtClean="0">
              <a:latin typeface="맑은 고딕"/>
              <a:ea typeface="맑은 고딕"/>
              <a:cs typeface="맑은 고딕"/>
            </a:endParaRPr>
          </a:p>
        </p:txBody>
      </p:sp>
      <p:graphicFrame>
        <p:nvGraphicFramePr>
          <p:cNvPr id="7" name="차트 6"/>
          <p:cNvGraphicFramePr/>
          <p:nvPr>
            <p:extLst>
              <p:ext uri="{D42A27DB-BD31-4B8C-83A1-F6EECF244321}">
                <p14:modId xmlns:p14="http://schemas.microsoft.com/office/powerpoint/2010/main" val="3155995097"/>
              </p:ext>
            </p:extLst>
          </p:nvPr>
        </p:nvGraphicFramePr>
        <p:xfrm>
          <a:off x="863600" y="1397000"/>
          <a:ext cx="7596832" cy="50563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직사각형 5"/>
          <p:cNvSpPr>
            <a:spLocks noChangeArrowheads="1"/>
          </p:cNvSpPr>
          <p:nvPr/>
        </p:nvSpPr>
        <p:spPr bwMode="auto">
          <a:xfrm>
            <a:off x="539552" y="6258073"/>
            <a:ext cx="2006600" cy="3905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72000" tIns="72000" rIns="72000" bIns="72000">
            <a:spAutoFit/>
          </a:bodyPr>
          <a:lstStyle/>
          <a:p>
            <a:pPr latinLnBrk="0"/>
            <a:r>
              <a:rPr kumimoji="0" lang="en-US" altLang="ko-KR" sz="1600" dirty="0">
                <a:solidFill>
                  <a:schemeClr val="bg2"/>
                </a:solidFill>
              </a:rPr>
              <a:t>Source from KOSIS </a:t>
            </a:r>
          </a:p>
        </p:txBody>
      </p:sp>
    </p:spTree>
    <p:extLst>
      <p:ext uri="{BB962C8B-B14F-4D97-AF65-F5344CB8AC3E}">
        <p14:creationId xmlns:p14="http://schemas.microsoft.com/office/powerpoint/2010/main" val="33588120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737" name="제목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smtClean="0">
                <a:ea typeface="굴림" charset="-127"/>
              </a:rPr>
              <a:t>1-4 Ostomy operation cases</a:t>
            </a: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CD6C862-F196-4AA3-AAA7-E9A3A296F7A0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1"/>
          </p:nvPr>
        </p:nvSpPr>
        <p:spPr/>
        <p:txBody>
          <a:bodyPr/>
          <a:lstStyle/>
          <a:p>
            <a:pPr>
              <a:defRPr/>
            </a:pPr>
            <a:fld id="{1E1FEEF7-9165-4C5E-8EE9-E29069C88D18}" type="datetime4">
              <a:rPr lang="en-GB" smtClean="0"/>
              <a:pPr>
                <a:defRPr/>
              </a:pPr>
              <a:t>20 March 2017</a:t>
            </a:fld>
            <a:endParaRPr lang="en-US" dirty="0"/>
          </a:p>
        </p:txBody>
      </p:sp>
      <p:graphicFrame>
        <p:nvGraphicFramePr>
          <p:cNvPr id="7" name="내용 개체 틀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09993682"/>
              </p:ext>
            </p:extLst>
          </p:nvPr>
        </p:nvGraphicFramePr>
        <p:xfrm>
          <a:off x="851254" y="2060848"/>
          <a:ext cx="7681185" cy="38884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" name="직사각형 5"/>
          <p:cNvSpPr>
            <a:spLocks noChangeArrowheads="1"/>
          </p:cNvSpPr>
          <p:nvPr/>
        </p:nvSpPr>
        <p:spPr bwMode="auto">
          <a:xfrm>
            <a:off x="539552" y="6258073"/>
            <a:ext cx="1857285" cy="391628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72000" tIns="72000" rIns="72000" bIns="72000">
            <a:spAutoFit/>
          </a:bodyPr>
          <a:lstStyle/>
          <a:p>
            <a:pPr latinLnBrk="0"/>
            <a:r>
              <a:rPr kumimoji="0" lang="en-US" altLang="ko-KR" sz="1600" dirty="0">
                <a:solidFill>
                  <a:schemeClr val="bg2"/>
                </a:solidFill>
              </a:rPr>
              <a:t>Source from </a:t>
            </a:r>
            <a:r>
              <a:rPr kumimoji="0" lang="en-US" altLang="ko-KR" sz="1600" dirty="0" smtClean="0">
                <a:solidFill>
                  <a:schemeClr val="bg2"/>
                </a:solidFill>
              </a:rPr>
              <a:t>HIRA </a:t>
            </a:r>
            <a:endParaRPr kumimoji="0" lang="en-US" altLang="ko-KR" sz="1600" dirty="0">
              <a:solidFill>
                <a:schemeClr val="bg2"/>
              </a:solidFill>
            </a:endParaRPr>
          </a:p>
        </p:txBody>
      </p:sp>
      <p:sp>
        <p:nvSpPr>
          <p:cNvPr id="12" name="타원 11"/>
          <p:cNvSpPr/>
          <p:nvPr/>
        </p:nvSpPr>
        <p:spPr bwMode="auto">
          <a:xfrm>
            <a:off x="2555776" y="3106763"/>
            <a:ext cx="576064" cy="432048"/>
          </a:xfrm>
          <a:prstGeom prst="ellipse">
            <a:avLst/>
          </a:prstGeom>
          <a:solidFill>
            <a:schemeClr val="tx2">
              <a:lumMod val="50000"/>
            </a:schemeClr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400" b="1" dirty="0">
                <a:solidFill>
                  <a:schemeClr val="bg1"/>
                </a:solidFill>
              </a:rPr>
              <a:t>8</a:t>
            </a:r>
            <a:r>
              <a:rPr lang="en-US" altLang="ko-KR" sz="1400" b="1" dirty="0" smtClean="0">
                <a:solidFill>
                  <a:schemeClr val="bg1"/>
                </a:solidFill>
              </a:rPr>
              <a:t>%</a:t>
            </a:r>
            <a:endParaRPr lang="ko-KR" sz="1400" b="1" dirty="0">
              <a:solidFill>
                <a:schemeClr val="bg1"/>
              </a:solidFill>
            </a:endParaRPr>
          </a:p>
        </p:txBody>
      </p:sp>
      <p:sp>
        <p:nvSpPr>
          <p:cNvPr id="13" name="타원 12"/>
          <p:cNvSpPr/>
          <p:nvPr/>
        </p:nvSpPr>
        <p:spPr bwMode="auto">
          <a:xfrm>
            <a:off x="3656302" y="2276872"/>
            <a:ext cx="576064" cy="432048"/>
          </a:xfrm>
          <a:prstGeom prst="ellipse">
            <a:avLst/>
          </a:prstGeom>
          <a:solidFill>
            <a:schemeClr val="tx2">
              <a:lumMod val="50000"/>
            </a:schemeClr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400" b="1" dirty="0" smtClean="0">
                <a:solidFill>
                  <a:schemeClr val="bg1"/>
                </a:solidFill>
              </a:rPr>
              <a:t>4%</a:t>
            </a:r>
            <a:endParaRPr lang="ko-KR" sz="1400" b="1" dirty="0">
              <a:solidFill>
                <a:schemeClr val="bg1"/>
              </a:solidFill>
            </a:endParaRPr>
          </a:p>
        </p:txBody>
      </p:sp>
      <p:sp>
        <p:nvSpPr>
          <p:cNvPr id="14" name="타원 13"/>
          <p:cNvSpPr/>
          <p:nvPr/>
        </p:nvSpPr>
        <p:spPr bwMode="auto">
          <a:xfrm>
            <a:off x="5012432" y="1944440"/>
            <a:ext cx="576064" cy="432048"/>
          </a:xfrm>
          <a:prstGeom prst="ellipse">
            <a:avLst/>
          </a:prstGeom>
          <a:solidFill>
            <a:schemeClr val="tx2">
              <a:lumMod val="50000"/>
            </a:schemeClr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400" b="1" dirty="0" smtClean="0">
                <a:solidFill>
                  <a:schemeClr val="bg1"/>
                </a:solidFill>
              </a:rPr>
              <a:t>4%</a:t>
            </a:r>
            <a:endParaRPr lang="ko-KR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63248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761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 smtClean="0">
                <a:ea typeface="굴림" charset="-127"/>
              </a:rPr>
              <a:t>Stoma cases increasing</a:t>
            </a:r>
          </a:p>
          <a:p>
            <a:r>
              <a:rPr lang="en-US" altLang="ko-KR" dirty="0" smtClean="0">
                <a:ea typeface="굴림" charset="-127"/>
              </a:rPr>
              <a:t>Temporary vs. Permanent =8 : 2</a:t>
            </a:r>
          </a:p>
          <a:p>
            <a:r>
              <a:rPr lang="en-US" altLang="ko-KR" dirty="0" smtClean="0">
                <a:ea typeface="굴림" charset="-127"/>
              </a:rPr>
              <a:t>Most of temporary cases are ileostomy.</a:t>
            </a:r>
          </a:p>
          <a:p>
            <a:r>
              <a:rPr lang="en-US" altLang="ko-KR" dirty="0" smtClean="0">
                <a:ea typeface="굴림" charset="-127"/>
              </a:rPr>
              <a:t>Old age single family cases are increasing .(They do not have care giver  so hard to change products by themselves.)</a:t>
            </a:r>
          </a:p>
          <a:p>
            <a:r>
              <a:rPr lang="en-US" altLang="ko-KR" dirty="0" smtClean="0">
                <a:ea typeface="굴림" charset="-127"/>
              </a:rPr>
              <a:t>Short hospitalization period(5-7 days) : can not receive enough training for stoma care.</a:t>
            </a:r>
          </a:p>
          <a:p>
            <a:endParaRPr lang="en-US" altLang="ko-KR" dirty="0" smtClean="0">
              <a:ea typeface="굴림" charset="-127"/>
            </a:endParaRPr>
          </a:p>
          <a:p>
            <a:endParaRPr lang="en-US" altLang="ko-KR" dirty="0" smtClean="0">
              <a:ea typeface="굴림" charset="-127"/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433DA9-A5E4-4CA6-ACD8-749D63698B30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sp>
        <p:nvSpPr>
          <p:cNvPr id="5" name="날짜 개체 틀 4"/>
          <p:cNvSpPr>
            <a:spLocks noGrp="1"/>
          </p:cNvSpPr>
          <p:nvPr>
            <p:ph type="dt" sz="quarter" idx="11"/>
          </p:nvPr>
        </p:nvSpPr>
        <p:spPr/>
        <p:txBody>
          <a:bodyPr/>
          <a:lstStyle/>
          <a:p>
            <a:pPr>
              <a:defRPr/>
            </a:pPr>
            <a:fld id="{968738BD-3C52-47F4-B19D-06D2334016A9}" type="datetime4">
              <a:rPr lang="en-GB" smtClean="0"/>
              <a:pPr>
                <a:defRPr/>
              </a:pPr>
              <a:t>20 March 2017</a:t>
            </a:fld>
            <a:endParaRPr lang="en-US" dirty="0"/>
          </a:p>
        </p:txBody>
      </p:sp>
      <p:sp>
        <p:nvSpPr>
          <p:cNvPr id="117764" name="제목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smtClean="0">
                <a:ea typeface="굴림" charset="-127"/>
              </a:rPr>
              <a:t>1-5 Ostomy operation cases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785" name="슬라이드 번호 개체 틀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80CF256E-1AE9-4A50-8EB0-E9D9C67074A3}" type="slidenum">
              <a:rPr lang="ko-KR" altLang="en-US" smtClean="0">
                <a:ea typeface="굴림" charset="-127"/>
              </a:rPr>
              <a:pPr/>
              <a:t>8</a:t>
            </a:fld>
            <a:endParaRPr lang="en-US" altLang="ko-KR" smtClean="0">
              <a:ea typeface="굴림" charset="-127"/>
            </a:endParaRPr>
          </a:p>
        </p:txBody>
      </p:sp>
      <p:sp>
        <p:nvSpPr>
          <p:cNvPr id="118786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836613"/>
            <a:ext cx="7848600" cy="936625"/>
          </a:xfrm>
        </p:spPr>
        <p:txBody>
          <a:bodyPr/>
          <a:lstStyle/>
          <a:p>
            <a:pPr eaLnBrk="1" hangingPunct="1"/>
            <a:r>
              <a:rPr lang="en-US" altLang="ko-KR" b="1" dirty="0" smtClean="0">
                <a:latin typeface="+mn-ea"/>
                <a:ea typeface="+mn-ea"/>
                <a:cs typeface="맑은 고딕"/>
              </a:rPr>
              <a:t>1-6 Reimbursement System in Korea</a:t>
            </a:r>
          </a:p>
        </p:txBody>
      </p:sp>
      <p:sp>
        <p:nvSpPr>
          <p:cNvPr id="410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99592" y="2060848"/>
            <a:ext cx="7848872" cy="4176440"/>
          </a:xfrm>
        </p:spPr>
        <p:txBody>
          <a:bodyPr/>
          <a:lstStyle/>
          <a:p>
            <a:pPr eaLnBrk="1" hangingPunct="1">
              <a:lnSpc>
                <a:spcPct val="150000"/>
              </a:lnSpc>
            </a:pPr>
            <a:r>
              <a:rPr lang="en-US" altLang="ko-KR" b="1" dirty="0" smtClean="0">
                <a:latin typeface="+mn-ea"/>
                <a:cs typeface="맑은 고딕"/>
              </a:rPr>
              <a:t>4 plate and 4 bags per week or 4one-pieces per week </a:t>
            </a:r>
          </a:p>
          <a:p>
            <a:pPr eaLnBrk="1" hangingPunct="1">
              <a:lnSpc>
                <a:spcPct val="150000"/>
              </a:lnSpc>
            </a:pPr>
            <a:r>
              <a:rPr lang="en-US" altLang="ko-KR" b="1" dirty="0">
                <a:latin typeface="+mn-ea"/>
                <a:cs typeface="맑은 고딕"/>
              </a:rPr>
              <a:t>6</a:t>
            </a:r>
            <a:r>
              <a:rPr lang="en-US" altLang="ko-KR" b="1" dirty="0" smtClean="0">
                <a:latin typeface="+mn-ea"/>
                <a:cs typeface="맑은 고딕"/>
              </a:rPr>
              <a:t> plate and 6 bags per week or 6 one-pieces per week (baby, Dementia)</a:t>
            </a:r>
          </a:p>
          <a:p>
            <a:pPr eaLnBrk="1" hangingPunct="1">
              <a:lnSpc>
                <a:spcPct val="150000"/>
              </a:lnSpc>
            </a:pPr>
            <a:r>
              <a:rPr lang="en-US" altLang="ko-KR" b="1" dirty="0" smtClean="0">
                <a:latin typeface="+mn-ea"/>
                <a:cs typeface="맑은 고딕"/>
              </a:rPr>
              <a:t>Co-Payment for cancer patient has been changed</a:t>
            </a:r>
          </a:p>
          <a:p>
            <a:pPr lvl="2" eaLnBrk="1" hangingPunct="1">
              <a:lnSpc>
                <a:spcPct val="150000"/>
              </a:lnSpc>
              <a:buFont typeface="Wingdings" pitchFamily="2" charset="2"/>
              <a:buChar char="ü"/>
            </a:pPr>
            <a:r>
              <a:rPr lang="en-US" altLang="ko-KR" dirty="0" err="1" smtClean="0">
                <a:latin typeface="+mn-ea"/>
                <a:ea typeface="+mn-ea"/>
                <a:cs typeface="맑은 고딕"/>
              </a:rPr>
              <a:t>Ostomy</a:t>
            </a:r>
            <a:r>
              <a:rPr lang="en-US" altLang="ko-KR" dirty="0" smtClean="0">
                <a:latin typeface="+mn-ea"/>
                <a:ea typeface="+mn-ea"/>
                <a:cs typeface="맑은 고딕"/>
              </a:rPr>
              <a:t> bag &amp; plates reimbursement scheme began since 2005</a:t>
            </a:r>
          </a:p>
          <a:p>
            <a:pPr lvl="2" eaLnBrk="1" hangingPunct="1">
              <a:lnSpc>
                <a:spcPct val="150000"/>
              </a:lnSpc>
              <a:buFont typeface="Wingdings" pitchFamily="2" charset="2"/>
              <a:buChar char="ü"/>
            </a:pPr>
            <a:r>
              <a:rPr lang="en-US" altLang="ko-KR" dirty="0" smtClean="0">
                <a:latin typeface="+mn-ea"/>
                <a:ea typeface="+mn-ea"/>
                <a:cs typeface="맑은 고딕"/>
              </a:rPr>
              <a:t>Within 5 years after surgery </a:t>
            </a:r>
            <a:r>
              <a:rPr lang="en-US" altLang="ko-KR" dirty="0" smtClean="0">
                <a:latin typeface="+mn-ea"/>
                <a:ea typeface="+mn-ea"/>
                <a:cs typeface="맑은 고딕"/>
                <a:sym typeface="Wingdings" pitchFamily="2" charset="2"/>
              </a:rPr>
              <a:t> pay just 5% of reimbursement price</a:t>
            </a:r>
            <a:endParaRPr lang="en-US" altLang="ko-KR" dirty="0" smtClean="0">
              <a:latin typeface="+mn-ea"/>
              <a:ea typeface="+mn-ea"/>
              <a:cs typeface="맑은 고딕"/>
            </a:endParaRPr>
          </a:p>
          <a:p>
            <a:pPr lvl="2" eaLnBrk="1" hangingPunct="1">
              <a:lnSpc>
                <a:spcPct val="150000"/>
              </a:lnSpc>
              <a:buFont typeface="Wingdings" pitchFamily="2" charset="2"/>
              <a:buChar char="ü"/>
            </a:pPr>
            <a:r>
              <a:rPr lang="en-US" altLang="ko-KR" dirty="0" smtClean="0">
                <a:latin typeface="+mn-ea"/>
                <a:ea typeface="+mn-ea"/>
                <a:cs typeface="맑은 고딕"/>
              </a:rPr>
              <a:t>Over 5 years after surgery </a:t>
            </a:r>
            <a:r>
              <a:rPr lang="en-US" altLang="ko-KR" dirty="0" smtClean="0">
                <a:latin typeface="+mn-ea"/>
                <a:ea typeface="+mn-ea"/>
                <a:cs typeface="맑은 고딕"/>
                <a:sym typeface="Wingdings" pitchFamily="2" charset="2"/>
              </a:rPr>
              <a:t> pay 20% of reimbursement price</a:t>
            </a:r>
          </a:p>
          <a:p>
            <a:pPr lvl="2" eaLnBrk="1" hangingPunct="1">
              <a:lnSpc>
                <a:spcPct val="150000"/>
              </a:lnSpc>
              <a:buFont typeface="Wingdings" pitchFamily="2" charset="2"/>
              <a:buChar char="ü"/>
            </a:pPr>
            <a:r>
              <a:rPr lang="en-US" altLang="ko-KR" dirty="0" smtClean="0">
                <a:latin typeface="+mn-ea"/>
                <a:ea typeface="+mn-ea"/>
                <a:cs typeface="맑은 고딕"/>
                <a:sym typeface="Wingdings" pitchFamily="2" charset="2"/>
              </a:rPr>
              <a:t>Ostomy accessories reimbursement since</a:t>
            </a:r>
            <a:r>
              <a:rPr lang="ko-KR" altLang="en-US" dirty="0" smtClean="0">
                <a:latin typeface="+mn-ea"/>
                <a:ea typeface="+mn-ea"/>
                <a:cs typeface="맑은 고딕"/>
                <a:sym typeface="Wingdings" pitchFamily="2" charset="2"/>
              </a:rPr>
              <a:t>  </a:t>
            </a:r>
            <a:r>
              <a:rPr lang="en-US" altLang="ko-KR" dirty="0" smtClean="0">
                <a:latin typeface="+mn-ea"/>
                <a:ea typeface="+mn-ea"/>
                <a:cs typeface="맑은 고딕"/>
                <a:sym typeface="Wingdings" pitchFamily="2" charset="2"/>
              </a:rPr>
              <a:t>2015</a:t>
            </a:r>
          </a:p>
          <a:p>
            <a:pPr lvl="2" eaLnBrk="1" hangingPunct="1">
              <a:lnSpc>
                <a:spcPct val="150000"/>
              </a:lnSpc>
              <a:buFont typeface="Wingdings" pitchFamily="2" charset="2"/>
              <a:buNone/>
            </a:pPr>
            <a:endParaRPr lang="ko-KR" altLang="da-DK" dirty="0" smtClean="0">
              <a:latin typeface="+mn-ea"/>
              <a:ea typeface="+mn-ea"/>
              <a:cs typeface="맑은 고딕"/>
              <a:sym typeface="Wingdings" pitchFamily="2" charset="2"/>
            </a:endParaRPr>
          </a:p>
        </p:txBody>
      </p:sp>
      <p:sp>
        <p:nvSpPr>
          <p:cNvPr id="118788" name="직사각형 4"/>
          <p:cNvSpPr>
            <a:spLocks noChangeArrowheads="1"/>
          </p:cNvSpPr>
          <p:nvPr/>
        </p:nvSpPr>
        <p:spPr bwMode="auto">
          <a:xfrm>
            <a:off x="7308850" y="6308725"/>
            <a:ext cx="1746250" cy="396875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/>
          <a:lstStyle/>
          <a:p>
            <a:pPr latinLnBrk="0"/>
            <a:endParaRPr kumimoji="0" lang="en-US" altLang="ko-KR" sz="1400"/>
          </a:p>
        </p:txBody>
      </p:sp>
      <p:sp>
        <p:nvSpPr>
          <p:cNvPr id="118789" name="직사각형 5"/>
          <p:cNvSpPr>
            <a:spLocks noChangeArrowheads="1"/>
          </p:cNvSpPr>
          <p:nvPr/>
        </p:nvSpPr>
        <p:spPr bwMode="auto">
          <a:xfrm>
            <a:off x="323850" y="6237288"/>
            <a:ext cx="1746250" cy="396875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/>
          <a:lstStyle/>
          <a:p>
            <a:pPr latinLnBrk="0"/>
            <a:endParaRPr kumimoji="0" lang="en-US" altLang="ko-KR" sz="1400"/>
          </a:p>
        </p:txBody>
      </p:sp>
    </p:spTree>
  </p:cSld>
  <p:clrMapOvr>
    <a:masterClrMapping/>
  </p:clrMapOvr>
  <p:transition advClick="0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00" grpId="0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809" name="슬라이드 번호 개체 틀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AEC22B3C-D7B1-4C0F-AD49-2F5DDC0823E9}" type="slidenum">
              <a:rPr lang="ko-KR" altLang="en-US" smtClean="0">
                <a:ea typeface="굴림" charset="-127"/>
              </a:rPr>
              <a:pPr/>
              <a:t>9</a:t>
            </a:fld>
            <a:endParaRPr lang="en-US" altLang="ko-KR" smtClean="0">
              <a:ea typeface="굴림" charset="-127"/>
            </a:endParaRPr>
          </a:p>
        </p:txBody>
      </p:sp>
      <p:sp>
        <p:nvSpPr>
          <p:cNvPr id="119810" name="Rectangle 2"/>
          <p:cNvSpPr>
            <a:spLocks noGrp="1" noChangeArrowheads="1"/>
          </p:cNvSpPr>
          <p:nvPr>
            <p:ph type="title"/>
          </p:nvPr>
        </p:nvSpPr>
        <p:spPr>
          <a:xfrm>
            <a:off x="684213" y="1844675"/>
            <a:ext cx="7775575" cy="514350"/>
          </a:xfrm>
        </p:spPr>
        <p:txBody>
          <a:bodyPr/>
          <a:lstStyle/>
          <a:p>
            <a:pPr eaLnBrk="1" hangingPunct="1"/>
            <a:r>
              <a:rPr lang="da-DK" altLang="ko-KR" sz="2400" b="1" dirty="0" smtClean="0">
                <a:latin typeface="맑은 고딕"/>
                <a:ea typeface="맑은 고딕"/>
                <a:cs typeface="맑은 고딕"/>
              </a:rPr>
              <a:t>2-1 History of Korean Ostomates Association</a:t>
            </a:r>
            <a:endParaRPr lang="en-US" altLang="ko-KR" sz="2400" b="1" dirty="0" smtClean="0">
              <a:latin typeface="맑은 고딕"/>
              <a:ea typeface="맑은 고딕"/>
              <a:cs typeface="맑은 고딕"/>
            </a:endParaRPr>
          </a:p>
        </p:txBody>
      </p:sp>
      <p:sp>
        <p:nvSpPr>
          <p:cNvPr id="11981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11188" y="2708275"/>
            <a:ext cx="8208962" cy="3673475"/>
          </a:xfrm>
        </p:spPr>
        <p:txBody>
          <a:bodyPr/>
          <a:lstStyle/>
          <a:p>
            <a:pPr eaLnBrk="1" hangingPunct="1">
              <a:tabLst>
                <a:tab pos="268288" algn="l"/>
                <a:tab pos="725488" algn="l"/>
              </a:tabLst>
            </a:pPr>
            <a:r>
              <a:rPr lang="en-US" altLang="ko-KR" dirty="0" smtClean="0">
                <a:latin typeface="+mn-ea"/>
                <a:cs typeface="맑은 고딕"/>
              </a:rPr>
              <a:t>1985. Mar. 16 : Established  K.O.A</a:t>
            </a:r>
            <a:endParaRPr lang="da-DK" altLang="ko-KR" dirty="0" smtClean="0">
              <a:latin typeface="+mn-ea"/>
              <a:cs typeface="맑은 고딕"/>
            </a:endParaRPr>
          </a:p>
          <a:p>
            <a:pPr eaLnBrk="1" hangingPunct="1">
              <a:tabLst>
                <a:tab pos="268288" algn="l"/>
                <a:tab pos="725488" algn="l"/>
              </a:tabLst>
            </a:pPr>
            <a:endParaRPr lang="da-DK" altLang="ko-KR" dirty="0" smtClean="0">
              <a:latin typeface="+mn-ea"/>
              <a:cs typeface="맑은 고딕"/>
            </a:endParaRPr>
          </a:p>
          <a:p>
            <a:pPr eaLnBrk="1" hangingPunct="1">
              <a:tabLst>
                <a:tab pos="268288" algn="l"/>
                <a:tab pos="725488" algn="l"/>
              </a:tabLst>
            </a:pPr>
            <a:r>
              <a:rPr lang="en-US" altLang="ko-KR" dirty="0" smtClean="0">
                <a:latin typeface="+mn-ea"/>
                <a:cs typeface="맑은 고딕"/>
              </a:rPr>
              <a:t>1997. Feb. 5 : Incorporated Association approval by the Government</a:t>
            </a:r>
            <a:endParaRPr lang="da-DK" altLang="ko-KR" dirty="0" smtClean="0">
              <a:latin typeface="+mn-ea"/>
              <a:cs typeface="맑은 고딕"/>
            </a:endParaRPr>
          </a:p>
          <a:p>
            <a:pPr eaLnBrk="1" hangingPunct="1">
              <a:tabLst>
                <a:tab pos="268288" algn="l"/>
                <a:tab pos="725488" algn="l"/>
              </a:tabLst>
            </a:pPr>
            <a:endParaRPr lang="da-DK" altLang="ko-KR" u="sng" dirty="0" smtClean="0">
              <a:latin typeface="+mn-ea"/>
              <a:cs typeface="맑은 고딕"/>
            </a:endParaRPr>
          </a:p>
          <a:p>
            <a:pPr eaLnBrk="1" hangingPunct="1">
              <a:tabLst>
                <a:tab pos="268288" algn="l"/>
                <a:tab pos="725488" algn="l"/>
              </a:tabLst>
            </a:pPr>
            <a:r>
              <a:rPr lang="en-US" altLang="ko-KR" dirty="0" smtClean="0">
                <a:latin typeface="+mn-ea"/>
                <a:cs typeface="맑은 고딕"/>
              </a:rPr>
              <a:t>2003. Jul. 1 : Government approval </a:t>
            </a:r>
            <a:r>
              <a:rPr lang="en-US" altLang="ko-KR" dirty="0" err="1" smtClean="0">
                <a:latin typeface="+mn-ea"/>
                <a:cs typeface="맑은 고딕"/>
              </a:rPr>
              <a:t>ostomates</a:t>
            </a:r>
            <a:r>
              <a:rPr lang="en-US" altLang="ko-KR" dirty="0" smtClean="0">
                <a:latin typeface="+mn-ea"/>
                <a:cs typeface="맑은 고딕"/>
              </a:rPr>
              <a:t> as a disabled person </a:t>
            </a:r>
          </a:p>
          <a:p>
            <a:pPr eaLnBrk="1" hangingPunct="1">
              <a:tabLst>
                <a:tab pos="268288" algn="l"/>
                <a:tab pos="725488" algn="l"/>
              </a:tabLst>
            </a:pPr>
            <a:endParaRPr lang="da-DK" altLang="ko-KR" dirty="0" smtClean="0">
              <a:latin typeface="+mn-ea"/>
              <a:cs typeface="맑은 고딕"/>
            </a:endParaRPr>
          </a:p>
          <a:p>
            <a:pPr eaLnBrk="1" hangingPunct="1">
              <a:tabLst>
                <a:tab pos="268288" algn="l"/>
                <a:tab pos="725488" algn="l"/>
              </a:tabLst>
            </a:pPr>
            <a:r>
              <a:rPr lang="en-US" altLang="ko-KR" dirty="0" smtClean="0">
                <a:latin typeface="+mn-ea"/>
                <a:cs typeface="맑은 고딕"/>
              </a:rPr>
              <a:t>2005. Sep. : Ostomy bags &amp; plates were classified as a reimbursement items.</a:t>
            </a:r>
          </a:p>
          <a:p>
            <a:pPr eaLnBrk="1" hangingPunct="1">
              <a:tabLst>
                <a:tab pos="268288" algn="l"/>
                <a:tab pos="725488" algn="l"/>
              </a:tabLst>
            </a:pPr>
            <a:endParaRPr lang="en-US" altLang="ko-KR" dirty="0" smtClean="0">
              <a:latin typeface="+mn-ea"/>
              <a:cs typeface="맑은 고딕"/>
            </a:endParaRPr>
          </a:p>
          <a:p>
            <a:pPr eaLnBrk="1" hangingPunct="1">
              <a:tabLst>
                <a:tab pos="268288" algn="l"/>
                <a:tab pos="725488" algn="l"/>
              </a:tabLst>
            </a:pPr>
            <a:r>
              <a:rPr lang="da-DK" altLang="ko-KR" dirty="0" smtClean="0">
                <a:latin typeface="+mn-ea"/>
                <a:cs typeface="맑은 고딕"/>
              </a:rPr>
              <a:t>2011. Oct. : Goverment support for ostomy products by the Disabled Person  </a:t>
            </a:r>
            <a:br>
              <a:rPr lang="da-DK" altLang="ko-KR" dirty="0" smtClean="0">
                <a:latin typeface="+mn-ea"/>
                <a:cs typeface="맑은 고딕"/>
              </a:rPr>
            </a:br>
            <a:r>
              <a:rPr lang="da-DK" altLang="ko-KR" dirty="0" smtClean="0">
                <a:latin typeface="+mn-ea"/>
                <a:cs typeface="맑은 고딕"/>
              </a:rPr>
              <a:t>			      Welfare Law</a:t>
            </a:r>
          </a:p>
        </p:txBody>
      </p:sp>
      <p:sp>
        <p:nvSpPr>
          <p:cNvPr id="119812" name="직사각형 4"/>
          <p:cNvSpPr>
            <a:spLocks noChangeArrowheads="1"/>
          </p:cNvSpPr>
          <p:nvPr/>
        </p:nvSpPr>
        <p:spPr bwMode="auto">
          <a:xfrm>
            <a:off x="7308850" y="6308725"/>
            <a:ext cx="1746250" cy="396875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/>
          <a:lstStyle/>
          <a:p>
            <a:pPr latinLnBrk="0"/>
            <a:endParaRPr kumimoji="0" lang="en-US" altLang="ko-KR" sz="1400"/>
          </a:p>
        </p:txBody>
      </p:sp>
      <p:sp>
        <p:nvSpPr>
          <p:cNvPr id="119813" name="직사각형 5"/>
          <p:cNvSpPr>
            <a:spLocks noChangeArrowheads="1"/>
          </p:cNvSpPr>
          <p:nvPr/>
        </p:nvSpPr>
        <p:spPr bwMode="auto">
          <a:xfrm>
            <a:off x="0" y="6200775"/>
            <a:ext cx="1746250" cy="396875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/>
          <a:lstStyle/>
          <a:p>
            <a:pPr latinLnBrk="0"/>
            <a:endParaRPr kumimoji="0" lang="en-US" altLang="ko-KR" sz="1400"/>
          </a:p>
        </p:txBody>
      </p:sp>
      <p:sp>
        <p:nvSpPr>
          <p:cNvPr id="119814" name="Rectangle 7"/>
          <p:cNvSpPr>
            <a:spLocks noChangeArrowheads="1"/>
          </p:cNvSpPr>
          <p:nvPr/>
        </p:nvSpPr>
        <p:spPr bwMode="auto">
          <a:xfrm>
            <a:off x="539750" y="908050"/>
            <a:ext cx="5327650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latinLnBrk="0">
              <a:lnSpc>
                <a:spcPct val="160000"/>
              </a:lnSpc>
              <a:spcBef>
                <a:spcPct val="30000"/>
              </a:spcBef>
            </a:pPr>
            <a:r>
              <a:rPr kumimoji="0" lang="en-US" altLang="ko-KR" sz="2400" b="1" dirty="0"/>
              <a:t>2. Introduction of  K.O.A</a:t>
            </a:r>
          </a:p>
        </p:txBody>
      </p:sp>
    </p:spTree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1vw0QJVkOqnCDRJqn2wg"/>
</p:tagLst>
</file>

<file path=ppt/theme/theme1.xml><?xml version="1.0" encoding="utf-8"?>
<a:theme xmlns:a="http://schemas.openxmlformats.org/drawingml/2006/main" name="blank">
  <a:themeElements>
    <a:clrScheme name="Coloplast colors">
      <a:dk1>
        <a:srgbClr val="25397D"/>
      </a:dk1>
      <a:lt1>
        <a:srgbClr val="FFFFFF"/>
      </a:lt1>
      <a:dk2>
        <a:srgbClr val="C8DAF1"/>
      </a:dk2>
      <a:lt2>
        <a:srgbClr val="6D8EC8"/>
      </a:lt2>
      <a:accent1>
        <a:srgbClr val="6E6D6D"/>
      </a:accent1>
      <a:accent2>
        <a:srgbClr val="A8A7A7"/>
      </a:accent2>
      <a:accent3>
        <a:srgbClr val="FFFFFF"/>
      </a:accent3>
      <a:accent4>
        <a:srgbClr val="142F6C"/>
      </a:accent4>
      <a:accent5>
        <a:srgbClr val="BABABA"/>
      </a:accent5>
      <a:accent6>
        <a:srgbClr val="D6001E"/>
      </a:accent6>
      <a:hlink>
        <a:srgbClr val="25397D"/>
      </a:hlink>
      <a:folHlink>
        <a:srgbClr val="A8A7A7"/>
      </a:folHlink>
    </a:clrScheme>
    <a:fontScheme name="Coloplast Standar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Coloplast Standar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loplast Standard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loplast Standard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loplast Standard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loplast Standard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loplast Standard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loplast Standard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loplast Standard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loplast Standard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loplast Standard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loplast Standard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loplast Standard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loplast Standard 13">
        <a:dk1>
          <a:srgbClr val="193980"/>
        </a:dk1>
        <a:lt1>
          <a:srgbClr val="FFFFFF"/>
        </a:lt1>
        <a:dk2>
          <a:srgbClr val="C8DAF1"/>
        </a:dk2>
        <a:lt2>
          <a:srgbClr val="6D8EC8"/>
        </a:lt2>
        <a:accent1>
          <a:srgbClr val="6E6D6D"/>
        </a:accent1>
        <a:accent2>
          <a:srgbClr val="9E9D9D"/>
        </a:accent2>
        <a:accent3>
          <a:srgbClr val="FFFFFF"/>
        </a:accent3>
        <a:accent4>
          <a:srgbClr val="142F6C"/>
        </a:accent4>
        <a:accent5>
          <a:srgbClr val="BABABA"/>
        </a:accent5>
        <a:accent6>
          <a:srgbClr val="8F8E8E"/>
        </a:accent6>
        <a:hlink>
          <a:srgbClr val="DEDEDE"/>
        </a:hlink>
        <a:folHlink>
          <a:srgbClr val="E15A1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loplast Standard 14">
        <a:dk1>
          <a:srgbClr val="193980"/>
        </a:dk1>
        <a:lt1>
          <a:srgbClr val="FFFFFF"/>
        </a:lt1>
        <a:dk2>
          <a:srgbClr val="C8DAF1"/>
        </a:dk2>
        <a:lt2>
          <a:srgbClr val="6D8EC8"/>
        </a:lt2>
        <a:accent1>
          <a:srgbClr val="6E6D6D"/>
        </a:accent1>
        <a:accent2>
          <a:srgbClr val="A8A7A7"/>
        </a:accent2>
        <a:accent3>
          <a:srgbClr val="FFFFFF"/>
        </a:accent3>
        <a:accent4>
          <a:srgbClr val="142F6C"/>
        </a:accent4>
        <a:accent5>
          <a:srgbClr val="BABABA"/>
        </a:accent5>
        <a:accent6>
          <a:srgbClr val="989797"/>
        </a:accent6>
        <a:hlink>
          <a:srgbClr val="DEDEDE"/>
        </a:hlink>
        <a:folHlink>
          <a:srgbClr val="E15A1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loplast Standard 15">
        <a:dk1>
          <a:srgbClr val="193980"/>
        </a:dk1>
        <a:lt1>
          <a:srgbClr val="FFFFFF"/>
        </a:lt1>
        <a:dk2>
          <a:srgbClr val="C8DAF1"/>
        </a:dk2>
        <a:lt2>
          <a:srgbClr val="6D8EC8"/>
        </a:lt2>
        <a:accent1>
          <a:srgbClr val="6E6D6D"/>
        </a:accent1>
        <a:accent2>
          <a:srgbClr val="9E9D9D"/>
        </a:accent2>
        <a:accent3>
          <a:srgbClr val="FFFFFF"/>
        </a:accent3>
        <a:accent4>
          <a:srgbClr val="142F6C"/>
        </a:accent4>
        <a:accent5>
          <a:srgbClr val="BABABA"/>
        </a:accent5>
        <a:accent6>
          <a:srgbClr val="8F8E8E"/>
        </a:accent6>
        <a:hlink>
          <a:srgbClr val="DEDEDE"/>
        </a:hlink>
        <a:folHlink>
          <a:srgbClr val="D6001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Blank">
  <a:themeElements>
    <a:clrScheme name="Coloplast Corporate">
      <a:dk1>
        <a:srgbClr val="000000"/>
      </a:dk1>
      <a:lt1>
        <a:srgbClr val="FFFFFF"/>
      </a:lt1>
      <a:dk2>
        <a:srgbClr val="00B0CA"/>
      </a:dk2>
      <a:lt2>
        <a:srgbClr val="6F6F6F"/>
      </a:lt2>
      <a:accent1>
        <a:srgbClr val="E0684B"/>
      </a:accent1>
      <a:accent2>
        <a:srgbClr val="B8CF95"/>
      </a:accent2>
      <a:accent3>
        <a:srgbClr val="AFADC3"/>
      </a:accent3>
      <a:accent4>
        <a:srgbClr val="C7B37F"/>
      </a:accent4>
      <a:accent5>
        <a:srgbClr val="40C4D7"/>
      </a:accent5>
      <a:accent6>
        <a:srgbClr val="6F6F6F"/>
      </a:accent6>
      <a:hlink>
        <a:srgbClr val="25397D"/>
      </a:hlink>
      <a:folHlink>
        <a:srgbClr val="800080"/>
      </a:folHlink>
    </a:clrScheme>
    <a:fontScheme name="Coloplas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85000"/>
          </a:schemeClr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72000" tIns="72000" rIns="72000" bIns="72000" numCol="1" rtlCol="0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charset="0"/>
          </a:defRPr>
        </a:defPPr>
      </a:lstStyle>
    </a:spDef>
    <a:lnDef>
      <a:spPr bwMode="auto">
        <a:solidFill>
          <a:schemeClr val="accent2"/>
        </a:solidFill>
        <a:ln w="635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defRPr sz="1600" smtClean="0">
            <a:solidFill>
              <a:schemeClr val="bg2"/>
            </a:solidFill>
          </a:defRPr>
        </a:defPPr>
      </a:lstStyle>
    </a:txDef>
  </a:objectDefaults>
  <a:extraClrSchemeLst>
    <a:extraClrScheme>
      <a:clrScheme name="Coloplast Standar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loplast Standard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loplast Standard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loplast Standard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loplast Standard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loplast Standard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loplast Standard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loplast Standard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loplast Standard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loplast Standard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loplast Standard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loplast Standard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loplast Standard 13">
        <a:dk1>
          <a:srgbClr val="193980"/>
        </a:dk1>
        <a:lt1>
          <a:srgbClr val="FFFFFF"/>
        </a:lt1>
        <a:dk2>
          <a:srgbClr val="C8DAF1"/>
        </a:dk2>
        <a:lt2>
          <a:srgbClr val="6D8EC8"/>
        </a:lt2>
        <a:accent1>
          <a:srgbClr val="6E6D6D"/>
        </a:accent1>
        <a:accent2>
          <a:srgbClr val="9E9D9D"/>
        </a:accent2>
        <a:accent3>
          <a:srgbClr val="FFFFFF"/>
        </a:accent3>
        <a:accent4>
          <a:srgbClr val="142F6C"/>
        </a:accent4>
        <a:accent5>
          <a:srgbClr val="BABABA"/>
        </a:accent5>
        <a:accent6>
          <a:srgbClr val="8F8E8E"/>
        </a:accent6>
        <a:hlink>
          <a:srgbClr val="DEDEDE"/>
        </a:hlink>
        <a:folHlink>
          <a:srgbClr val="E15A1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loplast Standard 14">
        <a:dk1>
          <a:srgbClr val="193980"/>
        </a:dk1>
        <a:lt1>
          <a:srgbClr val="FFFFFF"/>
        </a:lt1>
        <a:dk2>
          <a:srgbClr val="C8DAF1"/>
        </a:dk2>
        <a:lt2>
          <a:srgbClr val="6D8EC8"/>
        </a:lt2>
        <a:accent1>
          <a:srgbClr val="6E6D6D"/>
        </a:accent1>
        <a:accent2>
          <a:srgbClr val="A8A7A7"/>
        </a:accent2>
        <a:accent3>
          <a:srgbClr val="FFFFFF"/>
        </a:accent3>
        <a:accent4>
          <a:srgbClr val="142F6C"/>
        </a:accent4>
        <a:accent5>
          <a:srgbClr val="BABABA"/>
        </a:accent5>
        <a:accent6>
          <a:srgbClr val="989797"/>
        </a:accent6>
        <a:hlink>
          <a:srgbClr val="DEDEDE"/>
        </a:hlink>
        <a:folHlink>
          <a:srgbClr val="E15A1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loplast Standard 15">
        <a:dk1>
          <a:srgbClr val="193980"/>
        </a:dk1>
        <a:lt1>
          <a:srgbClr val="FFFFFF"/>
        </a:lt1>
        <a:dk2>
          <a:srgbClr val="C8DAF1"/>
        </a:dk2>
        <a:lt2>
          <a:srgbClr val="6D8EC8"/>
        </a:lt2>
        <a:accent1>
          <a:srgbClr val="6E6D6D"/>
        </a:accent1>
        <a:accent2>
          <a:srgbClr val="9E9D9D"/>
        </a:accent2>
        <a:accent3>
          <a:srgbClr val="FFFFFF"/>
        </a:accent3>
        <a:accent4>
          <a:srgbClr val="142F6C"/>
        </a:accent4>
        <a:accent5>
          <a:srgbClr val="BABABA"/>
        </a:accent5>
        <a:accent6>
          <a:srgbClr val="8F8E8E"/>
        </a:accent6>
        <a:hlink>
          <a:srgbClr val="DEDEDE"/>
        </a:hlink>
        <a:folHlink>
          <a:srgbClr val="D6001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Blank">
  <a:themeElements>
    <a:clrScheme name="Coloplast Corporate">
      <a:dk1>
        <a:srgbClr val="000000"/>
      </a:dk1>
      <a:lt1>
        <a:srgbClr val="FFFFFF"/>
      </a:lt1>
      <a:dk2>
        <a:srgbClr val="00B0CA"/>
      </a:dk2>
      <a:lt2>
        <a:srgbClr val="6F6F6F"/>
      </a:lt2>
      <a:accent1>
        <a:srgbClr val="E0684B"/>
      </a:accent1>
      <a:accent2>
        <a:srgbClr val="B8CF95"/>
      </a:accent2>
      <a:accent3>
        <a:srgbClr val="AFADC3"/>
      </a:accent3>
      <a:accent4>
        <a:srgbClr val="C7B37F"/>
      </a:accent4>
      <a:accent5>
        <a:srgbClr val="40C4D7"/>
      </a:accent5>
      <a:accent6>
        <a:srgbClr val="6F6F6F"/>
      </a:accent6>
      <a:hlink>
        <a:srgbClr val="25397D"/>
      </a:hlink>
      <a:folHlink>
        <a:srgbClr val="800080"/>
      </a:folHlink>
    </a:clrScheme>
    <a:fontScheme name="Coloplas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85000"/>
          </a:schemeClr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72000" tIns="72000" rIns="72000" bIns="72000" numCol="1" rtlCol="0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charset="0"/>
          </a:defRPr>
        </a:defPPr>
      </a:lstStyle>
    </a:spDef>
    <a:lnDef>
      <a:spPr bwMode="auto">
        <a:solidFill>
          <a:schemeClr val="accent2"/>
        </a:solidFill>
        <a:ln w="635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defRPr sz="1600" smtClean="0">
            <a:solidFill>
              <a:schemeClr val="bg2"/>
            </a:solidFill>
          </a:defRPr>
        </a:defPPr>
      </a:lstStyle>
    </a:txDef>
  </a:objectDefaults>
  <a:extraClrSchemeLst>
    <a:extraClrScheme>
      <a:clrScheme name="Coloplast Standar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loplast Standard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loplast Standard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loplast Standard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loplast Standard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loplast Standard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loplast Standard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loplast Standard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loplast Standard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loplast Standard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loplast Standard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loplast Standard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loplast Standard 13">
        <a:dk1>
          <a:srgbClr val="193980"/>
        </a:dk1>
        <a:lt1>
          <a:srgbClr val="FFFFFF"/>
        </a:lt1>
        <a:dk2>
          <a:srgbClr val="C8DAF1"/>
        </a:dk2>
        <a:lt2>
          <a:srgbClr val="6D8EC8"/>
        </a:lt2>
        <a:accent1>
          <a:srgbClr val="6E6D6D"/>
        </a:accent1>
        <a:accent2>
          <a:srgbClr val="9E9D9D"/>
        </a:accent2>
        <a:accent3>
          <a:srgbClr val="FFFFFF"/>
        </a:accent3>
        <a:accent4>
          <a:srgbClr val="142F6C"/>
        </a:accent4>
        <a:accent5>
          <a:srgbClr val="BABABA"/>
        </a:accent5>
        <a:accent6>
          <a:srgbClr val="8F8E8E"/>
        </a:accent6>
        <a:hlink>
          <a:srgbClr val="DEDEDE"/>
        </a:hlink>
        <a:folHlink>
          <a:srgbClr val="E15A1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loplast Standard 14">
        <a:dk1>
          <a:srgbClr val="193980"/>
        </a:dk1>
        <a:lt1>
          <a:srgbClr val="FFFFFF"/>
        </a:lt1>
        <a:dk2>
          <a:srgbClr val="C8DAF1"/>
        </a:dk2>
        <a:lt2>
          <a:srgbClr val="6D8EC8"/>
        </a:lt2>
        <a:accent1>
          <a:srgbClr val="6E6D6D"/>
        </a:accent1>
        <a:accent2>
          <a:srgbClr val="A8A7A7"/>
        </a:accent2>
        <a:accent3>
          <a:srgbClr val="FFFFFF"/>
        </a:accent3>
        <a:accent4>
          <a:srgbClr val="142F6C"/>
        </a:accent4>
        <a:accent5>
          <a:srgbClr val="BABABA"/>
        </a:accent5>
        <a:accent6>
          <a:srgbClr val="989797"/>
        </a:accent6>
        <a:hlink>
          <a:srgbClr val="DEDEDE"/>
        </a:hlink>
        <a:folHlink>
          <a:srgbClr val="E15A1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loplast Standard 15">
        <a:dk1>
          <a:srgbClr val="193980"/>
        </a:dk1>
        <a:lt1>
          <a:srgbClr val="FFFFFF"/>
        </a:lt1>
        <a:dk2>
          <a:srgbClr val="C8DAF1"/>
        </a:dk2>
        <a:lt2>
          <a:srgbClr val="6D8EC8"/>
        </a:lt2>
        <a:accent1>
          <a:srgbClr val="6E6D6D"/>
        </a:accent1>
        <a:accent2>
          <a:srgbClr val="9E9D9D"/>
        </a:accent2>
        <a:accent3>
          <a:srgbClr val="FFFFFF"/>
        </a:accent3>
        <a:accent4>
          <a:srgbClr val="142F6C"/>
        </a:accent4>
        <a:accent5>
          <a:srgbClr val="BABABA"/>
        </a:accent5>
        <a:accent6>
          <a:srgbClr val="8F8E8E"/>
        </a:accent6>
        <a:hlink>
          <a:srgbClr val="DEDEDE"/>
        </a:hlink>
        <a:folHlink>
          <a:srgbClr val="D6001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_Blank">
  <a:themeElements>
    <a:clrScheme name="Coloplast Corporate">
      <a:dk1>
        <a:srgbClr val="000000"/>
      </a:dk1>
      <a:lt1>
        <a:srgbClr val="FFFFFF"/>
      </a:lt1>
      <a:dk2>
        <a:srgbClr val="00B0CA"/>
      </a:dk2>
      <a:lt2>
        <a:srgbClr val="6F6F6F"/>
      </a:lt2>
      <a:accent1>
        <a:srgbClr val="E0684B"/>
      </a:accent1>
      <a:accent2>
        <a:srgbClr val="B8CF95"/>
      </a:accent2>
      <a:accent3>
        <a:srgbClr val="AFADC3"/>
      </a:accent3>
      <a:accent4>
        <a:srgbClr val="C7B37F"/>
      </a:accent4>
      <a:accent5>
        <a:srgbClr val="40C4D7"/>
      </a:accent5>
      <a:accent6>
        <a:srgbClr val="6F6F6F"/>
      </a:accent6>
      <a:hlink>
        <a:srgbClr val="25397D"/>
      </a:hlink>
      <a:folHlink>
        <a:srgbClr val="800080"/>
      </a:folHlink>
    </a:clrScheme>
    <a:fontScheme name="Coloplas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85000"/>
          </a:schemeClr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72000" tIns="72000" rIns="72000" bIns="72000" numCol="1" rtlCol="0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charset="0"/>
          </a:defRPr>
        </a:defPPr>
      </a:lstStyle>
    </a:spDef>
    <a:lnDef>
      <a:spPr bwMode="auto">
        <a:solidFill>
          <a:schemeClr val="accent2"/>
        </a:solidFill>
        <a:ln w="635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defRPr sz="1600" smtClean="0">
            <a:solidFill>
              <a:schemeClr val="bg2"/>
            </a:solidFill>
          </a:defRPr>
        </a:defPPr>
      </a:lstStyle>
    </a:txDef>
  </a:objectDefaults>
  <a:extraClrSchemeLst>
    <a:extraClrScheme>
      <a:clrScheme name="Coloplast Standar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loplast Standard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loplast Standard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loplast Standard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loplast Standard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loplast Standard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loplast Standard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loplast Standard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loplast Standard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loplast Standard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loplast Standard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loplast Standard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loplast Standard 13">
        <a:dk1>
          <a:srgbClr val="193980"/>
        </a:dk1>
        <a:lt1>
          <a:srgbClr val="FFFFFF"/>
        </a:lt1>
        <a:dk2>
          <a:srgbClr val="C8DAF1"/>
        </a:dk2>
        <a:lt2>
          <a:srgbClr val="6D8EC8"/>
        </a:lt2>
        <a:accent1>
          <a:srgbClr val="6E6D6D"/>
        </a:accent1>
        <a:accent2>
          <a:srgbClr val="9E9D9D"/>
        </a:accent2>
        <a:accent3>
          <a:srgbClr val="FFFFFF"/>
        </a:accent3>
        <a:accent4>
          <a:srgbClr val="142F6C"/>
        </a:accent4>
        <a:accent5>
          <a:srgbClr val="BABABA"/>
        </a:accent5>
        <a:accent6>
          <a:srgbClr val="8F8E8E"/>
        </a:accent6>
        <a:hlink>
          <a:srgbClr val="DEDEDE"/>
        </a:hlink>
        <a:folHlink>
          <a:srgbClr val="E15A1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loplast Standard 14">
        <a:dk1>
          <a:srgbClr val="193980"/>
        </a:dk1>
        <a:lt1>
          <a:srgbClr val="FFFFFF"/>
        </a:lt1>
        <a:dk2>
          <a:srgbClr val="C8DAF1"/>
        </a:dk2>
        <a:lt2>
          <a:srgbClr val="6D8EC8"/>
        </a:lt2>
        <a:accent1>
          <a:srgbClr val="6E6D6D"/>
        </a:accent1>
        <a:accent2>
          <a:srgbClr val="A8A7A7"/>
        </a:accent2>
        <a:accent3>
          <a:srgbClr val="FFFFFF"/>
        </a:accent3>
        <a:accent4>
          <a:srgbClr val="142F6C"/>
        </a:accent4>
        <a:accent5>
          <a:srgbClr val="BABABA"/>
        </a:accent5>
        <a:accent6>
          <a:srgbClr val="989797"/>
        </a:accent6>
        <a:hlink>
          <a:srgbClr val="DEDEDE"/>
        </a:hlink>
        <a:folHlink>
          <a:srgbClr val="E15A1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loplast Standard 15">
        <a:dk1>
          <a:srgbClr val="193980"/>
        </a:dk1>
        <a:lt1>
          <a:srgbClr val="FFFFFF"/>
        </a:lt1>
        <a:dk2>
          <a:srgbClr val="C8DAF1"/>
        </a:dk2>
        <a:lt2>
          <a:srgbClr val="6D8EC8"/>
        </a:lt2>
        <a:accent1>
          <a:srgbClr val="6E6D6D"/>
        </a:accent1>
        <a:accent2>
          <a:srgbClr val="9E9D9D"/>
        </a:accent2>
        <a:accent3>
          <a:srgbClr val="FFFFFF"/>
        </a:accent3>
        <a:accent4>
          <a:srgbClr val="142F6C"/>
        </a:accent4>
        <a:accent5>
          <a:srgbClr val="BABABA"/>
        </a:accent5>
        <a:accent6>
          <a:srgbClr val="8F8E8E"/>
        </a:accent6>
        <a:hlink>
          <a:srgbClr val="DEDEDE"/>
        </a:hlink>
        <a:folHlink>
          <a:srgbClr val="D6001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4_Blank">
  <a:themeElements>
    <a:clrScheme name="Coloplast Corporate">
      <a:dk1>
        <a:srgbClr val="000000"/>
      </a:dk1>
      <a:lt1>
        <a:srgbClr val="FFFFFF"/>
      </a:lt1>
      <a:dk2>
        <a:srgbClr val="00B0CA"/>
      </a:dk2>
      <a:lt2>
        <a:srgbClr val="6F6F6F"/>
      </a:lt2>
      <a:accent1>
        <a:srgbClr val="E0684B"/>
      </a:accent1>
      <a:accent2>
        <a:srgbClr val="B8CF95"/>
      </a:accent2>
      <a:accent3>
        <a:srgbClr val="AFADC3"/>
      </a:accent3>
      <a:accent4>
        <a:srgbClr val="C7B37F"/>
      </a:accent4>
      <a:accent5>
        <a:srgbClr val="40C4D7"/>
      </a:accent5>
      <a:accent6>
        <a:srgbClr val="6F6F6F"/>
      </a:accent6>
      <a:hlink>
        <a:srgbClr val="25397D"/>
      </a:hlink>
      <a:folHlink>
        <a:srgbClr val="800080"/>
      </a:folHlink>
    </a:clrScheme>
    <a:fontScheme name="Coloplas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85000"/>
          </a:schemeClr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72000" tIns="72000" rIns="72000" bIns="72000" numCol="1" rtlCol="0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charset="0"/>
          </a:defRPr>
        </a:defPPr>
      </a:lstStyle>
    </a:spDef>
    <a:lnDef>
      <a:spPr bwMode="auto">
        <a:solidFill>
          <a:schemeClr val="accent2"/>
        </a:solidFill>
        <a:ln w="635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defRPr sz="1600" smtClean="0">
            <a:solidFill>
              <a:schemeClr val="bg2"/>
            </a:solidFill>
          </a:defRPr>
        </a:defPPr>
      </a:lstStyle>
    </a:txDef>
  </a:objectDefaults>
  <a:extraClrSchemeLst>
    <a:extraClrScheme>
      <a:clrScheme name="Coloplast Standar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loplast Standard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loplast Standard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loplast Standard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loplast Standard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loplast Standard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loplast Standard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loplast Standard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loplast Standard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loplast Standard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loplast Standard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loplast Standard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loplast Standard 13">
        <a:dk1>
          <a:srgbClr val="193980"/>
        </a:dk1>
        <a:lt1>
          <a:srgbClr val="FFFFFF"/>
        </a:lt1>
        <a:dk2>
          <a:srgbClr val="C8DAF1"/>
        </a:dk2>
        <a:lt2>
          <a:srgbClr val="6D8EC8"/>
        </a:lt2>
        <a:accent1>
          <a:srgbClr val="6E6D6D"/>
        </a:accent1>
        <a:accent2>
          <a:srgbClr val="9E9D9D"/>
        </a:accent2>
        <a:accent3>
          <a:srgbClr val="FFFFFF"/>
        </a:accent3>
        <a:accent4>
          <a:srgbClr val="142F6C"/>
        </a:accent4>
        <a:accent5>
          <a:srgbClr val="BABABA"/>
        </a:accent5>
        <a:accent6>
          <a:srgbClr val="8F8E8E"/>
        </a:accent6>
        <a:hlink>
          <a:srgbClr val="DEDEDE"/>
        </a:hlink>
        <a:folHlink>
          <a:srgbClr val="E15A1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loplast Standard 14">
        <a:dk1>
          <a:srgbClr val="193980"/>
        </a:dk1>
        <a:lt1>
          <a:srgbClr val="FFFFFF"/>
        </a:lt1>
        <a:dk2>
          <a:srgbClr val="C8DAF1"/>
        </a:dk2>
        <a:lt2>
          <a:srgbClr val="6D8EC8"/>
        </a:lt2>
        <a:accent1>
          <a:srgbClr val="6E6D6D"/>
        </a:accent1>
        <a:accent2>
          <a:srgbClr val="A8A7A7"/>
        </a:accent2>
        <a:accent3>
          <a:srgbClr val="FFFFFF"/>
        </a:accent3>
        <a:accent4>
          <a:srgbClr val="142F6C"/>
        </a:accent4>
        <a:accent5>
          <a:srgbClr val="BABABA"/>
        </a:accent5>
        <a:accent6>
          <a:srgbClr val="989797"/>
        </a:accent6>
        <a:hlink>
          <a:srgbClr val="DEDEDE"/>
        </a:hlink>
        <a:folHlink>
          <a:srgbClr val="E15A1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loplast Standard 15">
        <a:dk1>
          <a:srgbClr val="193980"/>
        </a:dk1>
        <a:lt1>
          <a:srgbClr val="FFFFFF"/>
        </a:lt1>
        <a:dk2>
          <a:srgbClr val="C8DAF1"/>
        </a:dk2>
        <a:lt2>
          <a:srgbClr val="6D8EC8"/>
        </a:lt2>
        <a:accent1>
          <a:srgbClr val="6E6D6D"/>
        </a:accent1>
        <a:accent2>
          <a:srgbClr val="9E9D9D"/>
        </a:accent2>
        <a:accent3>
          <a:srgbClr val="FFFFFF"/>
        </a:accent3>
        <a:accent4>
          <a:srgbClr val="142F6C"/>
        </a:accent4>
        <a:accent5>
          <a:srgbClr val="BABABA"/>
        </a:accent5>
        <a:accent6>
          <a:srgbClr val="8F8E8E"/>
        </a:accent6>
        <a:hlink>
          <a:srgbClr val="DEDEDE"/>
        </a:hlink>
        <a:folHlink>
          <a:srgbClr val="D6001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5_Blank">
  <a:themeElements>
    <a:clrScheme name="Coloplast Corporate">
      <a:dk1>
        <a:srgbClr val="000000"/>
      </a:dk1>
      <a:lt1>
        <a:srgbClr val="FFFFFF"/>
      </a:lt1>
      <a:dk2>
        <a:srgbClr val="00B0CA"/>
      </a:dk2>
      <a:lt2>
        <a:srgbClr val="6F6F6F"/>
      </a:lt2>
      <a:accent1>
        <a:srgbClr val="E0684B"/>
      </a:accent1>
      <a:accent2>
        <a:srgbClr val="B8CF95"/>
      </a:accent2>
      <a:accent3>
        <a:srgbClr val="AFADC3"/>
      </a:accent3>
      <a:accent4>
        <a:srgbClr val="C7B37F"/>
      </a:accent4>
      <a:accent5>
        <a:srgbClr val="40C4D7"/>
      </a:accent5>
      <a:accent6>
        <a:srgbClr val="6F6F6F"/>
      </a:accent6>
      <a:hlink>
        <a:srgbClr val="25397D"/>
      </a:hlink>
      <a:folHlink>
        <a:srgbClr val="800080"/>
      </a:folHlink>
    </a:clrScheme>
    <a:fontScheme name="Coloplas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85000"/>
          </a:schemeClr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72000" tIns="72000" rIns="72000" bIns="72000" numCol="1" rtlCol="0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charset="0"/>
          </a:defRPr>
        </a:defPPr>
      </a:lstStyle>
    </a:spDef>
    <a:lnDef>
      <a:spPr bwMode="auto">
        <a:solidFill>
          <a:schemeClr val="accent2"/>
        </a:solidFill>
        <a:ln w="635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defRPr sz="1600" smtClean="0">
            <a:solidFill>
              <a:schemeClr val="bg2"/>
            </a:solidFill>
          </a:defRPr>
        </a:defPPr>
      </a:lstStyle>
    </a:txDef>
  </a:objectDefaults>
  <a:extraClrSchemeLst>
    <a:extraClrScheme>
      <a:clrScheme name="Coloplast Standar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loplast Standard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loplast Standard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loplast Standard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loplast Standard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loplast Standard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loplast Standard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loplast Standard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loplast Standard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loplast Standard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loplast Standard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loplast Standard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loplast Standard 13">
        <a:dk1>
          <a:srgbClr val="193980"/>
        </a:dk1>
        <a:lt1>
          <a:srgbClr val="FFFFFF"/>
        </a:lt1>
        <a:dk2>
          <a:srgbClr val="C8DAF1"/>
        </a:dk2>
        <a:lt2>
          <a:srgbClr val="6D8EC8"/>
        </a:lt2>
        <a:accent1>
          <a:srgbClr val="6E6D6D"/>
        </a:accent1>
        <a:accent2>
          <a:srgbClr val="9E9D9D"/>
        </a:accent2>
        <a:accent3>
          <a:srgbClr val="FFFFFF"/>
        </a:accent3>
        <a:accent4>
          <a:srgbClr val="142F6C"/>
        </a:accent4>
        <a:accent5>
          <a:srgbClr val="BABABA"/>
        </a:accent5>
        <a:accent6>
          <a:srgbClr val="8F8E8E"/>
        </a:accent6>
        <a:hlink>
          <a:srgbClr val="DEDEDE"/>
        </a:hlink>
        <a:folHlink>
          <a:srgbClr val="E15A1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loplast Standard 14">
        <a:dk1>
          <a:srgbClr val="193980"/>
        </a:dk1>
        <a:lt1>
          <a:srgbClr val="FFFFFF"/>
        </a:lt1>
        <a:dk2>
          <a:srgbClr val="C8DAF1"/>
        </a:dk2>
        <a:lt2>
          <a:srgbClr val="6D8EC8"/>
        </a:lt2>
        <a:accent1>
          <a:srgbClr val="6E6D6D"/>
        </a:accent1>
        <a:accent2>
          <a:srgbClr val="A8A7A7"/>
        </a:accent2>
        <a:accent3>
          <a:srgbClr val="FFFFFF"/>
        </a:accent3>
        <a:accent4>
          <a:srgbClr val="142F6C"/>
        </a:accent4>
        <a:accent5>
          <a:srgbClr val="BABABA"/>
        </a:accent5>
        <a:accent6>
          <a:srgbClr val="989797"/>
        </a:accent6>
        <a:hlink>
          <a:srgbClr val="DEDEDE"/>
        </a:hlink>
        <a:folHlink>
          <a:srgbClr val="E15A1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loplast Standard 15">
        <a:dk1>
          <a:srgbClr val="193980"/>
        </a:dk1>
        <a:lt1>
          <a:srgbClr val="FFFFFF"/>
        </a:lt1>
        <a:dk2>
          <a:srgbClr val="C8DAF1"/>
        </a:dk2>
        <a:lt2>
          <a:srgbClr val="6D8EC8"/>
        </a:lt2>
        <a:accent1>
          <a:srgbClr val="6E6D6D"/>
        </a:accent1>
        <a:accent2>
          <a:srgbClr val="9E9D9D"/>
        </a:accent2>
        <a:accent3>
          <a:srgbClr val="FFFFFF"/>
        </a:accent3>
        <a:accent4>
          <a:srgbClr val="142F6C"/>
        </a:accent4>
        <a:accent5>
          <a:srgbClr val="BABABA"/>
        </a:accent5>
        <a:accent6>
          <a:srgbClr val="8F8E8E"/>
        </a:accent6>
        <a:hlink>
          <a:srgbClr val="DEDEDE"/>
        </a:hlink>
        <a:folHlink>
          <a:srgbClr val="D6001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6_blank">
  <a:themeElements>
    <a:clrScheme name="Coloplast Corporate">
      <a:dk1>
        <a:srgbClr val="000000"/>
      </a:dk1>
      <a:lt1>
        <a:srgbClr val="FFFFFF"/>
      </a:lt1>
      <a:dk2>
        <a:srgbClr val="00B0CA"/>
      </a:dk2>
      <a:lt2>
        <a:srgbClr val="6F6F6F"/>
      </a:lt2>
      <a:accent1>
        <a:srgbClr val="E0684B"/>
      </a:accent1>
      <a:accent2>
        <a:srgbClr val="B8CF95"/>
      </a:accent2>
      <a:accent3>
        <a:srgbClr val="AFADC3"/>
      </a:accent3>
      <a:accent4>
        <a:srgbClr val="C7B37F"/>
      </a:accent4>
      <a:accent5>
        <a:srgbClr val="40C4D7"/>
      </a:accent5>
      <a:accent6>
        <a:srgbClr val="6F6F6F"/>
      </a:accent6>
      <a:hlink>
        <a:srgbClr val="25397D"/>
      </a:hlink>
      <a:folHlink>
        <a:srgbClr val="800080"/>
      </a:folHlink>
    </a:clrScheme>
    <a:fontScheme name="Coloplas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85000"/>
          </a:schemeClr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72000" tIns="72000" rIns="72000" bIns="72000" numCol="1" rtlCol="0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charset="0"/>
          </a:defRPr>
        </a:defPPr>
      </a:lstStyle>
    </a:spDef>
    <a:lnDef>
      <a:spPr bwMode="auto">
        <a:solidFill>
          <a:schemeClr val="accent2"/>
        </a:solidFill>
        <a:ln w="635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defRPr sz="1600" smtClean="0">
            <a:solidFill>
              <a:schemeClr val="bg2"/>
            </a:solidFill>
          </a:defRPr>
        </a:defPPr>
      </a:lstStyle>
    </a:txDef>
  </a:objectDefaults>
  <a:extraClrSchemeLst>
    <a:extraClrScheme>
      <a:clrScheme name="Coloplast Standar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loplast Standard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loplast Standard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loplast Standard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loplast Standard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loplast Standard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loplast Standard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loplast Standard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loplast Standard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loplast Standard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loplast Standard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loplast Standard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loplast Standard 13">
        <a:dk1>
          <a:srgbClr val="193980"/>
        </a:dk1>
        <a:lt1>
          <a:srgbClr val="FFFFFF"/>
        </a:lt1>
        <a:dk2>
          <a:srgbClr val="C8DAF1"/>
        </a:dk2>
        <a:lt2>
          <a:srgbClr val="6D8EC8"/>
        </a:lt2>
        <a:accent1>
          <a:srgbClr val="6E6D6D"/>
        </a:accent1>
        <a:accent2>
          <a:srgbClr val="9E9D9D"/>
        </a:accent2>
        <a:accent3>
          <a:srgbClr val="FFFFFF"/>
        </a:accent3>
        <a:accent4>
          <a:srgbClr val="142F6C"/>
        </a:accent4>
        <a:accent5>
          <a:srgbClr val="BABABA"/>
        </a:accent5>
        <a:accent6>
          <a:srgbClr val="8F8E8E"/>
        </a:accent6>
        <a:hlink>
          <a:srgbClr val="DEDEDE"/>
        </a:hlink>
        <a:folHlink>
          <a:srgbClr val="E15A1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loplast Standard 14">
        <a:dk1>
          <a:srgbClr val="193980"/>
        </a:dk1>
        <a:lt1>
          <a:srgbClr val="FFFFFF"/>
        </a:lt1>
        <a:dk2>
          <a:srgbClr val="C8DAF1"/>
        </a:dk2>
        <a:lt2>
          <a:srgbClr val="6D8EC8"/>
        </a:lt2>
        <a:accent1>
          <a:srgbClr val="6E6D6D"/>
        </a:accent1>
        <a:accent2>
          <a:srgbClr val="A8A7A7"/>
        </a:accent2>
        <a:accent3>
          <a:srgbClr val="FFFFFF"/>
        </a:accent3>
        <a:accent4>
          <a:srgbClr val="142F6C"/>
        </a:accent4>
        <a:accent5>
          <a:srgbClr val="BABABA"/>
        </a:accent5>
        <a:accent6>
          <a:srgbClr val="989797"/>
        </a:accent6>
        <a:hlink>
          <a:srgbClr val="DEDEDE"/>
        </a:hlink>
        <a:folHlink>
          <a:srgbClr val="E15A1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loplast Standard 15">
        <a:dk1>
          <a:srgbClr val="193980"/>
        </a:dk1>
        <a:lt1>
          <a:srgbClr val="FFFFFF"/>
        </a:lt1>
        <a:dk2>
          <a:srgbClr val="C8DAF1"/>
        </a:dk2>
        <a:lt2>
          <a:srgbClr val="6D8EC8"/>
        </a:lt2>
        <a:accent1>
          <a:srgbClr val="6E6D6D"/>
        </a:accent1>
        <a:accent2>
          <a:srgbClr val="9E9D9D"/>
        </a:accent2>
        <a:accent3>
          <a:srgbClr val="FFFFFF"/>
        </a:accent3>
        <a:accent4>
          <a:srgbClr val="142F6C"/>
        </a:accent4>
        <a:accent5>
          <a:srgbClr val="BABABA"/>
        </a:accent5>
        <a:accent6>
          <a:srgbClr val="8F8E8E"/>
        </a:accent6>
        <a:hlink>
          <a:srgbClr val="DEDEDE"/>
        </a:hlink>
        <a:folHlink>
          <a:srgbClr val="D6001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853</TotalTime>
  <Words>657</Words>
  <Application>Microsoft Office PowerPoint</Application>
  <PresentationFormat>화면 슬라이드 쇼(4:3)</PresentationFormat>
  <Paragraphs>140</Paragraphs>
  <Slides>23</Slides>
  <Notes>2</Notes>
  <HiddenSlides>0</HiddenSlides>
  <MMClips>0</MMClips>
  <ScaleCrop>false</ScaleCrop>
  <HeadingPairs>
    <vt:vector size="4" baseType="variant">
      <vt:variant>
        <vt:lpstr>테마</vt:lpstr>
      </vt:variant>
      <vt:variant>
        <vt:i4>7</vt:i4>
      </vt:variant>
      <vt:variant>
        <vt:lpstr>슬라이드 제목</vt:lpstr>
      </vt:variant>
      <vt:variant>
        <vt:i4>23</vt:i4>
      </vt:variant>
    </vt:vector>
  </HeadingPairs>
  <TitlesOfParts>
    <vt:vector size="30" baseType="lpstr">
      <vt:lpstr>blank</vt:lpstr>
      <vt:lpstr>1_Blank</vt:lpstr>
      <vt:lpstr>2_Blank</vt:lpstr>
      <vt:lpstr>3_Blank</vt:lpstr>
      <vt:lpstr>4_Blank</vt:lpstr>
      <vt:lpstr>5_Blank</vt:lpstr>
      <vt:lpstr>6_blank</vt:lpstr>
      <vt:lpstr> Korea Ostomy Association  </vt:lpstr>
      <vt:lpstr>Contents</vt:lpstr>
      <vt:lpstr>Demographics</vt:lpstr>
      <vt:lpstr>1-2 Registered Ostomates</vt:lpstr>
      <vt:lpstr>PowerPoint 프레젠테이션</vt:lpstr>
      <vt:lpstr>1-4 Ostomy operation cases</vt:lpstr>
      <vt:lpstr>1-5 Ostomy operation cases</vt:lpstr>
      <vt:lpstr>1-6 Reimbursement System in Korea</vt:lpstr>
      <vt:lpstr>2-1 History of Korean Ostomates Association</vt:lpstr>
      <vt:lpstr>2-2 K.O.A in Province</vt:lpstr>
      <vt:lpstr>3. K.O.A Activity</vt:lpstr>
      <vt:lpstr>3-1  Counseling  </vt:lpstr>
      <vt:lpstr>PowerPoint 프레젠테이션</vt:lpstr>
      <vt:lpstr>3-2. Stoma seminar </vt:lpstr>
      <vt:lpstr>3-3. Monthly meeting</vt:lpstr>
      <vt:lpstr>3-4. News-Letter</vt:lpstr>
      <vt:lpstr>3-5. Picnics</vt:lpstr>
      <vt:lpstr>3-6. Ostomy products donation</vt:lpstr>
      <vt:lpstr>3-7. Lobby activity for Ostomates right. </vt:lpstr>
      <vt:lpstr>PowerPoint 프레젠테이션</vt:lpstr>
      <vt:lpstr>3-8 Home Visiting  Care</vt:lpstr>
      <vt:lpstr>3-9 World Meetings       IOA General Meeting in Frankfurt, 2010</vt:lpstr>
      <vt:lpstr>ASPOA General Meeting in Iran, 2011</vt:lpstr>
    </vt:vector>
  </TitlesOfParts>
  <Company>Coloplas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슬라이드 1</dc:title>
  <dc:creator>Mac Kim</dc:creator>
  <cp:lastModifiedBy>Ostomy</cp:lastModifiedBy>
  <cp:revision>139</cp:revision>
  <dcterms:created xsi:type="dcterms:W3CDTF">2011-05-24T00:19:09Z</dcterms:created>
  <dcterms:modified xsi:type="dcterms:W3CDTF">2017-03-20T04:13:37Z</dcterms:modified>
</cp:coreProperties>
</file>